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1"/>
    <p:sldMasterId id="2147483772" r:id="rId2"/>
  </p:sldMasterIdLst>
  <p:notesMasterIdLst>
    <p:notesMasterId r:id="rId32"/>
  </p:notesMasterIdLst>
  <p:handoutMasterIdLst>
    <p:handoutMasterId r:id="rId33"/>
  </p:handoutMasterIdLst>
  <p:sldIdLst>
    <p:sldId id="623" r:id="rId3"/>
    <p:sldId id="647" r:id="rId4"/>
    <p:sldId id="634" r:id="rId5"/>
    <p:sldId id="625" r:id="rId6"/>
    <p:sldId id="626" r:id="rId7"/>
    <p:sldId id="627" r:id="rId8"/>
    <p:sldId id="319" r:id="rId9"/>
    <p:sldId id="633" r:id="rId10"/>
    <p:sldId id="604" r:id="rId11"/>
    <p:sldId id="605" r:id="rId12"/>
    <p:sldId id="565" r:id="rId13"/>
    <p:sldId id="648" r:id="rId14"/>
    <p:sldId id="636" r:id="rId15"/>
    <p:sldId id="637" r:id="rId16"/>
    <p:sldId id="638" r:id="rId17"/>
    <p:sldId id="649" r:id="rId18"/>
    <p:sldId id="639" r:id="rId19"/>
    <p:sldId id="259" r:id="rId20"/>
    <p:sldId id="260" r:id="rId21"/>
    <p:sldId id="263" r:id="rId22"/>
    <p:sldId id="262" r:id="rId23"/>
    <p:sldId id="264" r:id="rId24"/>
    <p:sldId id="265" r:id="rId25"/>
    <p:sldId id="641" r:id="rId26"/>
    <p:sldId id="652" r:id="rId27"/>
    <p:sldId id="657" r:id="rId28"/>
    <p:sldId id="650" r:id="rId29"/>
    <p:sldId id="651" r:id="rId30"/>
    <p:sldId id="597" r:id="rId31"/>
  </p:sldIdLst>
  <p:sldSz cx="11520488" cy="6480175"/>
  <p:notesSz cx="6858000" cy="9144000"/>
  <p:defaultTextStyle>
    <a:defPPr>
      <a:defRPr lang="en-US"/>
    </a:defPPr>
    <a:lvl1pPr marL="0" algn="l" defTabSz="863740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1870" algn="l" defTabSz="863740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3740" algn="l" defTabSz="863740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5611" algn="l" defTabSz="863740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7480" algn="l" defTabSz="863740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59348" algn="l" defTabSz="863740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1219" algn="l" defTabSz="863740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3089" algn="l" defTabSz="863740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4959" algn="l" defTabSz="863740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DDFA"/>
    <a:srgbClr val="D9D6F8"/>
    <a:srgbClr val="E6E4FA"/>
    <a:srgbClr val="D9D5F8"/>
    <a:srgbClr val="FFFFFF"/>
    <a:srgbClr val="6F74AF"/>
    <a:srgbClr val="454C98"/>
    <a:srgbClr val="6E81A7"/>
    <a:srgbClr val="5E5E5E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550" autoAdjust="0"/>
    <p:restoredTop sz="94426"/>
  </p:normalViewPr>
  <p:slideViewPr>
    <p:cSldViewPr snapToGrid="0">
      <p:cViewPr varScale="1">
        <p:scale>
          <a:sx n="153" d="100"/>
          <a:sy n="153" d="100"/>
        </p:scale>
        <p:origin x="184" y="26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84" d="100"/>
          <a:sy n="84" d="100"/>
        </p:scale>
        <p:origin x="3960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handoutMaster" Target="handoutMasters/handoutMaster1.xml"/><Relationship Id="rId38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vel Anistratov" userId="f2672789-d0d7-41ee-88f6-6babeb037738" providerId="ADAL" clId="{A27D46DA-1688-7940-97FB-CF6167F239F2}"/>
    <pc:docChg chg="undo custSel addSld delSld modSld sldOrd">
      <pc:chgData name="Pavel Anistratov" userId="f2672789-d0d7-41ee-88f6-6babeb037738" providerId="ADAL" clId="{A27D46DA-1688-7940-97FB-CF6167F239F2}" dt="2023-05-10T14:49:25.274" v="2301" actId="20577"/>
      <pc:docMkLst>
        <pc:docMk/>
      </pc:docMkLst>
      <pc:sldChg chg="addSp modSp add mod">
        <pc:chgData name="Pavel Anistratov" userId="f2672789-d0d7-41ee-88f6-6babeb037738" providerId="ADAL" clId="{A27D46DA-1688-7940-97FB-CF6167F239F2}" dt="2023-05-10T13:47:45.120" v="2244"/>
        <pc:sldMkLst>
          <pc:docMk/>
          <pc:sldMk cId="1880149759" sldId="259"/>
        </pc:sldMkLst>
        <pc:spChg chg="mod">
          <ac:chgData name="Pavel Anistratov" userId="f2672789-d0d7-41ee-88f6-6babeb037738" providerId="ADAL" clId="{A27D46DA-1688-7940-97FB-CF6167F239F2}" dt="2023-05-09T13:16:10.134" v="597" actId="14100"/>
          <ac:spMkLst>
            <pc:docMk/>
            <pc:sldMk cId="1880149759" sldId="259"/>
            <ac:spMk id="14" creationId="{6B072921-CB48-D148-121F-519CAEF1D469}"/>
          </ac:spMkLst>
        </pc:spChg>
        <pc:spChg chg="add mod">
          <ac:chgData name="Pavel Anistratov" userId="f2672789-d0d7-41ee-88f6-6babeb037738" providerId="ADAL" clId="{A27D46DA-1688-7940-97FB-CF6167F239F2}" dt="2023-05-10T13:47:45.120" v="2244"/>
          <ac:spMkLst>
            <pc:docMk/>
            <pc:sldMk cId="1880149759" sldId="259"/>
            <ac:spMk id="15" creationId="{F157CCD3-8136-BCDD-FB6E-1A9B1DEBE608}"/>
          </ac:spMkLst>
        </pc:spChg>
        <pc:spChg chg="add mod">
          <ac:chgData name="Pavel Anistratov" userId="f2672789-d0d7-41ee-88f6-6babeb037738" providerId="ADAL" clId="{A27D46DA-1688-7940-97FB-CF6167F239F2}" dt="2023-05-10T13:47:45.120" v="2244"/>
          <ac:spMkLst>
            <pc:docMk/>
            <pc:sldMk cId="1880149759" sldId="259"/>
            <ac:spMk id="16" creationId="{27D38C51-0644-07F8-3AC6-B063F4444972}"/>
          </ac:spMkLst>
        </pc:spChg>
      </pc:sldChg>
      <pc:sldChg chg="addSp modSp add mod">
        <pc:chgData name="Pavel Anistratov" userId="f2672789-d0d7-41ee-88f6-6babeb037738" providerId="ADAL" clId="{A27D46DA-1688-7940-97FB-CF6167F239F2}" dt="2023-05-10T13:47:45.120" v="2244"/>
        <pc:sldMkLst>
          <pc:docMk/>
          <pc:sldMk cId="1094054961" sldId="260"/>
        </pc:sldMkLst>
        <pc:spChg chg="add mod">
          <ac:chgData name="Pavel Anistratov" userId="f2672789-d0d7-41ee-88f6-6babeb037738" providerId="ADAL" clId="{A27D46DA-1688-7940-97FB-CF6167F239F2}" dt="2023-05-10T13:47:45.120" v="2244"/>
          <ac:spMkLst>
            <pc:docMk/>
            <pc:sldMk cId="1094054961" sldId="260"/>
            <ac:spMk id="8" creationId="{3B3749F9-0A23-8561-A28B-FEB7082359D0}"/>
          </ac:spMkLst>
        </pc:spChg>
        <pc:spChg chg="add mod">
          <ac:chgData name="Pavel Anistratov" userId="f2672789-d0d7-41ee-88f6-6babeb037738" providerId="ADAL" clId="{A27D46DA-1688-7940-97FB-CF6167F239F2}" dt="2023-05-10T13:47:45.120" v="2244"/>
          <ac:spMkLst>
            <pc:docMk/>
            <pc:sldMk cId="1094054961" sldId="260"/>
            <ac:spMk id="9" creationId="{4A0C1BE4-2721-7D0E-4C26-A97EF99E4289}"/>
          </ac:spMkLst>
        </pc:spChg>
        <pc:spChg chg="mod">
          <ac:chgData name="Pavel Anistratov" userId="f2672789-d0d7-41ee-88f6-6babeb037738" providerId="ADAL" clId="{A27D46DA-1688-7940-97FB-CF6167F239F2}" dt="2023-05-09T13:16:20.058" v="599" actId="14100"/>
          <ac:spMkLst>
            <pc:docMk/>
            <pc:sldMk cId="1094054961" sldId="260"/>
            <ac:spMk id="26" creationId="{25993AB7-6C72-F067-B5FE-22E3403EFA04}"/>
          </ac:spMkLst>
        </pc:spChg>
        <pc:spChg chg="mod">
          <ac:chgData name="Pavel Anistratov" userId="f2672789-d0d7-41ee-88f6-6babeb037738" providerId="ADAL" clId="{A27D46DA-1688-7940-97FB-CF6167F239F2}" dt="2023-05-09T13:16:16.988" v="598" actId="14100"/>
          <ac:spMkLst>
            <pc:docMk/>
            <pc:sldMk cId="1094054961" sldId="260"/>
            <ac:spMk id="27" creationId="{200C3283-9198-5374-121A-2FC32589E830}"/>
          </ac:spMkLst>
        </pc:spChg>
      </pc:sldChg>
      <pc:sldChg chg="addSp modSp add mod">
        <pc:chgData name="Pavel Anistratov" userId="f2672789-d0d7-41ee-88f6-6babeb037738" providerId="ADAL" clId="{A27D46DA-1688-7940-97FB-CF6167F239F2}" dt="2023-05-10T13:47:45.120" v="2244"/>
        <pc:sldMkLst>
          <pc:docMk/>
          <pc:sldMk cId="245794351" sldId="262"/>
        </pc:sldMkLst>
        <pc:spChg chg="add mod">
          <ac:chgData name="Pavel Anistratov" userId="f2672789-d0d7-41ee-88f6-6babeb037738" providerId="ADAL" clId="{A27D46DA-1688-7940-97FB-CF6167F239F2}" dt="2023-05-10T13:47:45.120" v="2244"/>
          <ac:spMkLst>
            <pc:docMk/>
            <pc:sldMk cId="245794351" sldId="262"/>
            <ac:spMk id="11" creationId="{2BCE74E8-8D69-7DCD-44E3-56AFCA0D1E17}"/>
          </ac:spMkLst>
        </pc:spChg>
        <pc:spChg chg="mod">
          <ac:chgData name="Pavel Anistratov" userId="f2672789-d0d7-41ee-88f6-6babeb037738" providerId="ADAL" clId="{A27D46DA-1688-7940-97FB-CF6167F239F2}" dt="2023-05-09T15:03:33.967" v="2045" actId="14100"/>
          <ac:spMkLst>
            <pc:docMk/>
            <pc:sldMk cId="245794351" sldId="262"/>
            <ac:spMk id="26" creationId="{25993AB7-6C72-F067-B5FE-22E3403EFA04}"/>
          </ac:spMkLst>
        </pc:spChg>
        <pc:spChg chg="mod">
          <ac:chgData name="Pavel Anistratov" userId="f2672789-d0d7-41ee-88f6-6babeb037738" providerId="ADAL" clId="{A27D46DA-1688-7940-97FB-CF6167F239F2}" dt="2023-05-09T15:03:31.596" v="2044" actId="14100"/>
          <ac:spMkLst>
            <pc:docMk/>
            <pc:sldMk cId="245794351" sldId="262"/>
            <ac:spMk id="27" creationId="{200C3283-9198-5374-121A-2FC32589E830}"/>
          </ac:spMkLst>
        </pc:spChg>
        <pc:spChg chg="add mod">
          <ac:chgData name="Pavel Anistratov" userId="f2672789-d0d7-41ee-88f6-6babeb037738" providerId="ADAL" clId="{A27D46DA-1688-7940-97FB-CF6167F239F2}" dt="2023-05-10T13:47:45.120" v="2244"/>
          <ac:spMkLst>
            <pc:docMk/>
            <pc:sldMk cId="245794351" sldId="262"/>
            <ac:spMk id="34" creationId="{0DAACAE9-D20D-76D2-DE4D-588E69AEBCD6}"/>
          </ac:spMkLst>
        </pc:spChg>
      </pc:sldChg>
      <pc:sldChg chg="addSp modSp add mod">
        <pc:chgData name="Pavel Anistratov" userId="f2672789-d0d7-41ee-88f6-6babeb037738" providerId="ADAL" clId="{A27D46DA-1688-7940-97FB-CF6167F239F2}" dt="2023-05-10T13:47:45.120" v="2244"/>
        <pc:sldMkLst>
          <pc:docMk/>
          <pc:sldMk cId="2074449667" sldId="263"/>
        </pc:sldMkLst>
        <pc:spChg chg="add mod">
          <ac:chgData name="Pavel Anistratov" userId="f2672789-d0d7-41ee-88f6-6babeb037738" providerId="ADAL" clId="{A27D46DA-1688-7940-97FB-CF6167F239F2}" dt="2023-05-10T13:47:45.120" v="2244"/>
          <ac:spMkLst>
            <pc:docMk/>
            <pc:sldMk cId="2074449667" sldId="263"/>
            <ac:spMk id="11" creationId="{0B6789A5-0981-9D4B-DC8A-9D4495CE3960}"/>
          </ac:spMkLst>
        </pc:spChg>
        <pc:spChg chg="add mod">
          <ac:chgData name="Pavel Anistratov" userId="f2672789-d0d7-41ee-88f6-6babeb037738" providerId="ADAL" clId="{A27D46DA-1688-7940-97FB-CF6167F239F2}" dt="2023-05-10T13:47:45.120" v="2244"/>
          <ac:spMkLst>
            <pc:docMk/>
            <pc:sldMk cId="2074449667" sldId="263"/>
            <ac:spMk id="14" creationId="{4E3A672A-DD4D-1250-487F-F5B3F34DF135}"/>
          </ac:spMkLst>
        </pc:spChg>
        <pc:spChg chg="mod">
          <ac:chgData name="Pavel Anistratov" userId="f2672789-d0d7-41ee-88f6-6babeb037738" providerId="ADAL" clId="{A27D46DA-1688-7940-97FB-CF6167F239F2}" dt="2023-05-09T13:16:29.051" v="601" actId="14100"/>
          <ac:spMkLst>
            <pc:docMk/>
            <pc:sldMk cId="2074449667" sldId="263"/>
            <ac:spMk id="26" creationId="{25993AB7-6C72-F067-B5FE-22E3403EFA04}"/>
          </ac:spMkLst>
        </pc:spChg>
        <pc:spChg chg="mod">
          <ac:chgData name="Pavel Anistratov" userId="f2672789-d0d7-41ee-88f6-6babeb037738" providerId="ADAL" clId="{A27D46DA-1688-7940-97FB-CF6167F239F2}" dt="2023-05-09T13:16:26.939" v="600" actId="14100"/>
          <ac:spMkLst>
            <pc:docMk/>
            <pc:sldMk cId="2074449667" sldId="263"/>
            <ac:spMk id="27" creationId="{200C3283-9198-5374-121A-2FC32589E830}"/>
          </ac:spMkLst>
        </pc:spChg>
      </pc:sldChg>
      <pc:sldChg chg="addSp modSp add mod">
        <pc:chgData name="Pavel Anistratov" userId="f2672789-d0d7-41ee-88f6-6babeb037738" providerId="ADAL" clId="{A27D46DA-1688-7940-97FB-CF6167F239F2}" dt="2023-05-10T13:47:45.120" v="2244"/>
        <pc:sldMkLst>
          <pc:docMk/>
          <pc:sldMk cId="621547155" sldId="264"/>
        </pc:sldMkLst>
        <pc:spChg chg="add mod">
          <ac:chgData name="Pavel Anistratov" userId="f2672789-d0d7-41ee-88f6-6babeb037738" providerId="ADAL" clId="{A27D46DA-1688-7940-97FB-CF6167F239F2}" dt="2023-05-10T13:47:45.120" v="2244"/>
          <ac:spMkLst>
            <pc:docMk/>
            <pc:sldMk cId="621547155" sldId="264"/>
            <ac:spMk id="11" creationId="{6EC02FB8-C056-7CC5-2B40-DA5B6225A69F}"/>
          </ac:spMkLst>
        </pc:spChg>
        <pc:spChg chg="add mod">
          <ac:chgData name="Pavel Anistratov" userId="f2672789-d0d7-41ee-88f6-6babeb037738" providerId="ADAL" clId="{A27D46DA-1688-7940-97FB-CF6167F239F2}" dt="2023-05-10T13:47:45.120" v="2244"/>
          <ac:spMkLst>
            <pc:docMk/>
            <pc:sldMk cId="621547155" sldId="264"/>
            <ac:spMk id="23" creationId="{CBA5944D-9C93-CD33-022E-ACA52039AD66}"/>
          </ac:spMkLst>
        </pc:spChg>
        <pc:spChg chg="mod">
          <ac:chgData name="Pavel Anistratov" userId="f2672789-d0d7-41ee-88f6-6babeb037738" providerId="ADAL" clId="{A27D46DA-1688-7940-97FB-CF6167F239F2}" dt="2023-05-09T13:16:44.546" v="602" actId="14100"/>
          <ac:spMkLst>
            <pc:docMk/>
            <pc:sldMk cId="621547155" sldId="264"/>
            <ac:spMk id="38" creationId="{8EB6892D-F3DF-7FAC-2A1C-5576358CBBCD}"/>
          </ac:spMkLst>
        </pc:spChg>
      </pc:sldChg>
      <pc:sldChg chg="addSp modSp add mod">
        <pc:chgData name="Pavel Anistratov" userId="f2672789-d0d7-41ee-88f6-6babeb037738" providerId="ADAL" clId="{A27D46DA-1688-7940-97FB-CF6167F239F2}" dt="2023-05-10T13:47:45.120" v="2244"/>
        <pc:sldMkLst>
          <pc:docMk/>
          <pc:sldMk cId="1922947816" sldId="265"/>
        </pc:sldMkLst>
        <pc:spChg chg="add mod">
          <ac:chgData name="Pavel Anistratov" userId="f2672789-d0d7-41ee-88f6-6babeb037738" providerId="ADAL" clId="{A27D46DA-1688-7940-97FB-CF6167F239F2}" dt="2023-05-10T13:47:45.120" v="2244"/>
          <ac:spMkLst>
            <pc:docMk/>
            <pc:sldMk cId="1922947816" sldId="265"/>
            <ac:spMk id="23" creationId="{5FC9D917-C973-FA09-B663-690782F7BC92}"/>
          </ac:spMkLst>
        </pc:spChg>
        <pc:spChg chg="add mod">
          <ac:chgData name="Pavel Anistratov" userId="f2672789-d0d7-41ee-88f6-6babeb037738" providerId="ADAL" clId="{A27D46DA-1688-7940-97FB-CF6167F239F2}" dt="2023-05-10T13:47:45.120" v="2244"/>
          <ac:spMkLst>
            <pc:docMk/>
            <pc:sldMk cId="1922947816" sldId="265"/>
            <ac:spMk id="33" creationId="{07204D31-0432-A840-DC91-1E311EF4C572}"/>
          </ac:spMkLst>
        </pc:spChg>
        <pc:spChg chg="mod">
          <ac:chgData name="Pavel Anistratov" userId="f2672789-d0d7-41ee-88f6-6babeb037738" providerId="ADAL" clId="{A27D46DA-1688-7940-97FB-CF6167F239F2}" dt="2023-05-09T13:16:52.935" v="603" actId="14100"/>
          <ac:spMkLst>
            <pc:docMk/>
            <pc:sldMk cId="1922947816" sldId="265"/>
            <ac:spMk id="41" creationId="{F3926925-7209-F8EC-3F64-A7A0CFF851D9}"/>
          </ac:spMkLst>
        </pc:spChg>
      </pc:sldChg>
      <pc:sldChg chg="del">
        <pc:chgData name="Pavel Anistratov" userId="f2672789-d0d7-41ee-88f6-6babeb037738" providerId="ADAL" clId="{A27D46DA-1688-7940-97FB-CF6167F239F2}" dt="2023-05-08T14:04:03.105" v="2" actId="2696"/>
        <pc:sldMkLst>
          <pc:docMk/>
          <pc:sldMk cId="1099825652" sldId="274"/>
        </pc:sldMkLst>
      </pc:sldChg>
      <pc:sldChg chg="modSp add del mod">
        <pc:chgData name="Pavel Anistratov" userId="f2672789-d0d7-41ee-88f6-6babeb037738" providerId="ADAL" clId="{A27D46DA-1688-7940-97FB-CF6167F239F2}" dt="2023-05-10T13:31:11.844" v="2115" actId="2696"/>
        <pc:sldMkLst>
          <pc:docMk/>
          <pc:sldMk cId="2464603936" sldId="317"/>
        </pc:sldMkLst>
        <pc:spChg chg="mod">
          <ac:chgData name="Pavel Anistratov" userId="f2672789-d0d7-41ee-88f6-6babeb037738" providerId="ADAL" clId="{A27D46DA-1688-7940-97FB-CF6167F239F2}" dt="2023-05-09T13:53:00.339" v="791" actId="20577"/>
          <ac:spMkLst>
            <pc:docMk/>
            <pc:sldMk cId="2464603936" sldId="317"/>
            <ac:spMk id="2" creationId="{00000000-0000-0000-0000-000000000000}"/>
          </ac:spMkLst>
        </pc:spChg>
      </pc:sldChg>
      <pc:sldChg chg="del">
        <pc:chgData name="Pavel Anistratov" userId="f2672789-d0d7-41ee-88f6-6babeb037738" providerId="ADAL" clId="{A27D46DA-1688-7940-97FB-CF6167F239F2}" dt="2023-05-09T13:20:40.406" v="639" actId="2696"/>
        <pc:sldMkLst>
          <pc:docMk/>
          <pc:sldMk cId="1607203398" sldId="318"/>
        </pc:sldMkLst>
      </pc:sldChg>
      <pc:sldChg chg="addSp modSp">
        <pc:chgData name="Pavel Anistratov" userId="f2672789-d0d7-41ee-88f6-6babeb037738" providerId="ADAL" clId="{A27D46DA-1688-7940-97FB-CF6167F239F2}" dt="2023-05-10T13:47:45.120" v="2244"/>
        <pc:sldMkLst>
          <pc:docMk/>
          <pc:sldMk cId="4294874746" sldId="319"/>
        </pc:sldMkLst>
        <pc:spChg chg="add mod">
          <ac:chgData name="Pavel Anistratov" userId="f2672789-d0d7-41ee-88f6-6babeb037738" providerId="ADAL" clId="{A27D46DA-1688-7940-97FB-CF6167F239F2}" dt="2023-05-10T13:47:45.120" v="2244"/>
          <ac:spMkLst>
            <pc:docMk/>
            <pc:sldMk cId="4294874746" sldId="319"/>
            <ac:spMk id="2" creationId="{FF451DE1-9BD1-AE9E-CB4C-9E856B50E883}"/>
          </ac:spMkLst>
        </pc:spChg>
        <pc:spChg chg="add mod">
          <ac:chgData name="Pavel Anistratov" userId="f2672789-d0d7-41ee-88f6-6babeb037738" providerId="ADAL" clId="{A27D46DA-1688-7940-97FB-CF6167F239F2}" dt="2023-05-10T13:47:45.120" v="2244"/>
          <ac:spMkLst>
            <pc:docMk/>
            <pc:sldMk cId="4294874746" sldId="319"/>
            <ac:spMk id="3" creationId="{2B510BAD-A726-8FD5-B39F-7F4670ABD0FD}"/>
          </ac:spMkLst>
        </pc:spChg>
      </pc:sldChg>
      <pc:sldChg chg="del mod modShow">
        <pc:chgData name="Pavel Anistratov" userId="f2672789-d0d7-41ee-88f6-6babeb037738" providerId="ADAL" clId="{A27D46DA-1688-7940-97FB-CF6167F239F2}" dt="2023-05-09T13:20:23.374" v="627" actId="2696"/>
        <pc:sldMkLst>
          <pc:docMk/>
          <pc:sldMk cId="1170964553" sldId="561"/>
        </pc:sldMkLst>
      </pc:sldChg>
      <pc:sldChg chg="del mod modShow">
        <pc:chgData name="Pavel Anistratov" userId="f2672789-d0d7-41ee-88f6-6babeb037738" providerId="ADAL" clId="{A27D46DA-1688-7940-97FB-CF6167F239F2}" dt="2023-05-09T13:12:09.225" v="593" actId="2696"/>
        <pc:sldMkLst>
          <pc:docMk/>
          <pc:sldMk cId="4178947503" sldId="562"/>
        </pc:sldMkLst>
      </pc:sldChg>
      <pc:sldChg chg="del mod modShow">
        <pc:chgData name="Pavel Anistratov" userId="f2672789-d0d7-41ee-88f6-6babeb037738" providerId="ADAL" clId="{A27D46DA-1688-7940-97FB-CF6167F239F2}" dt="2023-05-09T13:12:09.802" v="594" actId="2696"/>
        <pc:sldMkLst>
          <pc:docMk/>
          <pc:sldMk cId="3610856756" sldId="563"/>
        </pc:sldMkLst>
      </pc:sldChg>
      <pc:sldChg chg="del mod ord modShow">
        <pc:chgData name="Pavel Anistratov" userId="f2672789-d0d7-41ee-88f6-6babeb037738" providerId="ADAL" clId="{A27D46DA-1688-7940-97FB-CF6167F239F2}" dt="2023-05-09T13:20:23.380" v="629" actId="2696"/>
        <pc:sldMkLst>
          <pc:docMk/>
          <pc:sldMk cId="340836495" sldId="566"/>
        </pc:sldMkLst>
      </pc:sldChg>
      <pc:sldChg chg="del mod modShow">
        <pc:chgData name="Pavel Anistratov" userId="f2672789-d0d7-41ee-88f6-6babeb037738" providerId="ADAL" clId="{A27D46DA-1688-7940-97FB-CF6167F239F2}" dt="2023-05-09T13:20:23.386" v="634" actId="2696"/>
        <pc:sldMkLst>
          <pc:docMk/>
          <pc:sldMk cId="1837573337" sldId="568"/>
        </pc:sldMkLst>
      </pc:sldChg>
      <pc:sldChg chg="del mod modShow">
        <pc:chgData name="Pavel Anistratov" userId="f2672789-d0d7-41ee-88f6-6babeb037738" providerId="ADAL" clId="{A27D46DA-1688-7940-97FB-CF6167F239F2}" dt="2023-05-09T13:20:23.384" v="632" actId="2696"/>
        <pc:sldMkLst>
          <pc:docMk/>
          <pc:sldMk cId="968817513" sldId="569"/>
        </pc:sldMkLst>
      </pc:sldChg>
      <pc:sldChg chg="del mod modShow">
        <pc:chgData name="Pavel Anistratov" userId="f2672789-d0d7-41ee-88f6-6babeb037738" providerId="ADAL" clId="{A27D46DA-1688-7940-97FB-CF6167F239F2}" dt="2023-05-09T13:20:23.363" v="621" actId="2696"/>
        <pc:sldMkLst>
          <pc:docMk/>
          <pc:sldMk cId="1955929151" sldId="571"/>
        </pc:sldMkLst>
      </pc:sldChg>
      <pc:sldChg chg="del mod modShow">
        <pc:chgData name="Pavel Anistratov" userId="f2672789-d0d7-41ee-88f6-6babeb037738" providerId="ADAL" clId="{A27D46DA-1688-7940-97FB-CF6167F239F2}" dt="2023-05-09T13:20:23.391" v="638" actId="2696"/>
        <pc:sldMkLst>
          <pc:docMk/>
          <pc:sldMk cId="421569941" sldId="573"/>
        </pc:sldMkLst>
      </pc:sldChg>
      <pc:sldChg chg="del mod modShow">
        <pc:chgData name="Pavel Anistratov" userId="f2672789-d0d7-41ee-88f6-6babeb037738" providerId="ADAL" clId="{A27D46DA-1688-7940-97FB-CF6167F239F2}" dt="2023-05-09T13:20:23.389" v="636" actId="2696"/>
        <pc:sldMkLst>
          <pc:docMk/>
          <pc:sldMk cId="297065447" sldId="575"/>
        </pc:sldMkLst>
      </pc:sldChg>
      <pc:sldChg chg="del mod modShow">
        <pc:chgData name="Pavel Anistratov" userId="f2672789-d0d7-41ee-88f6-6babeb037738" providerId="ADAL" clId="{A27D46DA-1688-7940-97FB-CF6167F239F2}" dt="2023-05-09T13:20:23.369" v="625" actId="2696"/>
        <pc:sldMkLst>
          <pc:docMk/>
          <pc:sldMk cId="4167125538" sldId="576"/>
        </pc:sldMkLst>
      </pc:sldChg>
      <pc:sldChg chg="del mod modShow">
        <pc:chgData name="Pavel Anistratov" userId="f2672789-d0d7-41ee-88f6-6babeb037738" providerId="ADAL" clId="{A27D46DA-1688-7940-97FB-CF6167F239F2}" dt="2023-05-09T13:20:23.381" v="630" actId="2696"/>
        <pc:sldMkLst>
          <pc:docMk/>
          <pc:sldMk cId="3169479271" sldId="577"/>
        </pc:sldMkLst>
      </pc:sldChg>
      <pc:sldChg chg="del mod modShow">
        <pc:chgData name="Pavel Anistratov" userId="f2672789-d0d7-41ee-88f6-6babeb037738" providerId="ADAL" clId="{A27D46DA-1688-7940-97FB-CF6167F239F2}" dt="2023-05-09T13:20:23.359" v="619" actId="2696"/>
        <pc:sldMkLst>
          <pc:docMk/>
          <pc:sldMk cId="1312127367" sldId="579"/>
        </pc:sldMkLst>
      </pc:sldChg>
      <pc:sldChg chg="del mod modShow">
        <pc:chgData name="Pavel Anistratov" userId="f2672789-d0d7-41ee-88f6-6babeb037738" providerId="ADAL" clId="{A27D46DA-1688-7940-97FB-CF6167F239F2}" dt="2023-05-09T13:20:23.367" v="623" actId="2696"/>
        <pc:sldMkLst>
          <pc:docMk/>
          <pc:sldMk cId="2935897468" sldId="581"/>
        </pc:sldMkLst>
      </pc:sldChg>
      <pc:sldChg chg="addSp modSp">
        <pc:chgData name="Pavel Anistratov" userId="f2672789-d0d7-41ee-88f6-6babeb037738" providerId="ADAL" clId="{A27D46DA-1688-7940-97FB-CF6167F239F2}" dt="2023-05-10T13:47:45.120" v="2244"/>
        <pc:sldMkLst>
          <pc:docMk/>
          <pc:sldMk cId="906561155" sldId="604"/>
        </pc:sldMkLst>
        <pc:spChg chg="add mod">
          <ac:chgData name="Pavel Anistratov" userId="f2672789-d0d7-41ee-88f6-6babeb037738" providerId="ADAL" clId="{A27D46DA-1688-7940-97FB-CF6167F239F2}" dt="2023-05-10T13:47:45.120" v="2244"/>
          <ac:spMkLst>
            <pc:docMk/>
            <pc:sldMk cId="906561155" sldId="604"/>
            <ac:spMk id="2" creationId="{CB5555F2-0AEE-25C1-CB80-4FD34C207610}"/>
          </ac:spMkLst>
        </pc:spChg>
        <pc:spChg chg="add mod">
          <ac:chgData name="Pavel Anistratov" userId="f2672789-d0d7-41ee-88f6-6babeb037738" providerId="ADAL" clId="{A27D46DA-1688-7940-97FB-CF6167F239F2}" dt="2023-05-10T13:47:45.120" v="2244"/>
          <ac:spMkLst>
            <pc:docMk/>
            <pc:sldMk cId="906561155" sldId="604"/>
            <ac:spMk id="3" creationId="{8ABC87D5-F34A-26D8-BD3A-E5B5EFD7F905}"/>
          </ac:spMkLst>
        </pc:spChg>
        <pc:spChg chg="mod">
          <ac:chgData name="Pavel Anistratov" userId="f2672789-d0d7-41ee-88f6-6babeb037738" providerId="ADAL" clId="{A27D46DA-1688-7940-97FB-CF6167F239F2}" dt="2023-05-08T14:11:01.895" v="86" actId="20577"/>
          <ac:spMkLst>
            <pc:docMk/>
            <pc:sldMk cId="906561155" sldId="604"/>
            <ac:spMk id="11" creationId="{DB552AF0-B79C-6807-B13E-D9F47ED3F61E}"/>
          </ac:spMkLst>
        </pc:spChg>
      </pc:sldChg>
      <pc:sldChg chg="addSp modSp">
        <pc:chgData name="Pavel Anistratov" userId="f2672789-d0d7-41ee-88f6-6babeb037738" providerId="ADAL" clId="{A27D46DA-1688-7940-97FB-CF6167F239F2}" dt="2023-05-10T13:47:45.120" v="2244"/>
        <pc:sldMkLst>
          <pc:docMk/>
          <pc:sldMk cId="1138329335" sldId="605"/>
        </pc:sldMkLst>
        <pc:spChg chg="add mod">
          <ac:chgData name="Pavel Anistratov" userId="f2672789-d0d7-41ee-88f6-6babeb037738" providerId="ADAL" clId="{A27D46DA-1688-7940-97FB-CF6167F239F2}" dt="2023-05-10T13:47:45.120" v="2244"/>
          <ac:spMkLst>
            <pc:docMk/>
            <pc:sldMk cId="1138329335" sldId="605"/>
            <ac:spMk id="2" creationId="{24B1B7D0-2BE7-4B5B-7E2D-EB0125764BA2}"/>
          </ac:spMkLst>
        </pc:spChg>
        <pc:spChg chg="add mod">
          <ac:chgData name="Pavel Anistratov" userId="f2672789-d0d7-41ee-88f6-6babeb037738" providerId="ADAL" clId="{A27D46DA-1688-7940-97FB-CF6167F239F2}" dt="2023-05-10T13:47:45.120" v="2244"/>
          <ac:spMkLst>
            <pc:docMk/>
            <pc:sldMk cId="1138329335" sldId="605"/>
            <ac:spMk id="3" creationId="{80FFFDD3-9F02-E020-FBC6-ADDE3058C58D}"/>
          </ac:spMkLst>
        </pc:spChg>
      </pc:sldChg>
      <pc:sldChg chg="del mod modShow">
        <pc:chgData name="Pavel Anistratov" userId="f2672789-d0d7-41ee-88f6-6babeb037738" providerId="ADAL" clId="{A27D46DA-1688-7940-97FB-CF6167F239F2}" dt="2023-05-09T13:20:23.366" v="622" actId="2696"/>
        <pc:sldMkLst>
          <pc:docMk/>
          <pc:sldMk cId="2861345123" sldId="606"/>
        </pc:sldMkLst>
      </pc:sldChg>
      <pc:sldChg chg="del mod modShow">
        <pc:chgData name="Pavel Anistratov" userId="f2672789-d0d7-41ee-88f6-6babeb037738" providerId="ADAL" clId="{A27D46DA-1688-7940-97FB-CF6167F239F2}" dt="2023-05-09T13:20:23.391" v="637" actId="2696"/>
        <pc:sldMkLst>
          <pc:docMk/>
          <pc:sldMk cId="449330207" sldId="607"/>
        </pc:sldMkLst>
      </pc:sldChg>
      <pc:sldChg chg="del mod modShow">
        <pc:chgData name="Pavel Anistratov" userId="f2672789-d0d7-41ee-88f6-6babeb037738" providerId="ADAL" clId="{A27D46DA-1688-7940-97FB-CF6167F239F2}" dt="2023-05-09T13:20:23.376" v="628" actId="2696"/>
        <pc:sldMkLst>
          <pc:docMk/>
          <pc:sldMk cId="1512572202" sldId="608"/>
        </pc:sldMkLst>
      </pc:sldChg>
      <pc:sldChg chg="del mod modShow">
        <pc:chgData name="Pavel Anistratov" userId="f2672789-d0d7-41ee-88f6-6babeb037738" providerId="ADAL" clId="{A27D46DA-1688-7940-97FB-CF6167F239F2}" dt="2023-05-09T13:20:23.388" v="635" actId="2696"/>
        <pc:sldMkLst>
          <pc:docMk/>
          <pc:sldMk cId="3638342298" sldId="609"/>
        </pc:sldMkLst>
      </pc:sldChg>
      <pc:sldChg chg="del mod modShow">
        <pc:chgData name="Pavel Anistratov" userId="f2672789-d0d7-41ee-88f6-6babeb037738" providerId="ADAL" clId="{A27D46DA-1688-7940-97FB-CF6167F239F2}" dt="2023-05-09T13:20:23.383" v="631" actId="2696"/>
        <pc:sldMkLst>
          <pc:docMk/>
          <pc:sldMk cId="3598368622" sldId="610"/>
        </pc:sldMkLst>
      </pc:sldChg>
      <pc:sldChg chg="del mod modShow">
        <pc:chgData name="Pavel Anistratov" userId="f2672789-d0d7-41ee-88f6-6babeb037738" providerId="ADAL" clId="{A27D46DA-1688-7940-97FB-CF6167F239F2}" dt="2023-05-09T13:20:23.372" v="626" actId="2696"/>
        <pc:sldMkLst>
          <pc:docMk/>
          <pc:sldMk cId="2050452948" sldId="614"/>
        </pc:sldMkLst>
      </pc:sldChg>
      <pc:sldChg chg="del mod modShow">
        <pc:chgData name="Pavel Anistratov" userId="f2672789-d0d7-41ee-88f6-6babeb037738" providerId="ADAL" clId="{A27D46DA-1688-7940-97FB-CF6167F239F2}" dt="2023-05-09T13:20:23.361" v="620" actId="2696"/>
        <pc:sldMkLst>
          <pc:docMk/>
          <pc:sldMk cId="2910172851" sldId="615"/>
        </pc:sldMkLst>
      </pc:sldChg>
      <pc:sldChg chg="del mod modShow">
        <pc:chgData name="Pavel Anistratov" userId="f2672789-d0d7-41ee-88f6-6babeb037738" providerId="ADAL" clId="{A27D46DA-1688-7940-97FB-CF6167F239F2}" dt="2023-05-09T13:20:23.357" v="618" actId="2696"/>
        <pc:sldMkLst>
          <pc:docMk/>
          <pc:sldMk cId="3470658134" sldId="616"/>
        </pc:sldMkLst>
      </pc:sldChg>
      <pc:sldChg chg="del mod modShow">
        <pc:chgData name="Pavel Anistratov" userId="f2672789-d0d7-41ee-88f6-6babeb037738" providerId="ADAL" clId="{A27D46DA-1688-7940-97FB-CF6167F239F2}" dt="2023-05-09T13:20:23.385" v="633" actId="2696"/>
        <pc:sldMkLst>
          <pc:docMk/>
          <pc:sldMk cId="937041407" sldId="617"/>
        </pc:sldMkLst>
      </pc:sldChg>
      <pc:sldChg chg="del mod modShow">
        <pc:chgData name="Pavel Anistratov" userId="f2672789-d0d7-41ee-88f6-6babeb037738" providerId="ADAL" clId="{A27D46DA-1688-7940-97FB-CF6167F239F2}" dt="2023-05-09T13:20:23.368" v="624" actId="2696"/>
        <pc:sldMkLst>
          <pc:docMk/>
          <pc:sldMk cId="902055290" sldId="618"/>
        </pc:sldMkLst>
      </pc:sldChg>
      <pc:sldChg chg="del mod modShow">
        <pc:chgData name="Pavel Anistratov" userId="f2672789-d0d7-41ee-88f6-6babeb037738" providerId="ADAL" clId="{A27D46DA-1688-7940-97FB-CF6167F239F2}" dt="2023-05-09T13:12:10.476" v="595" actId="2696"/>
        <pc:sldMkLst>
          <pc:docMk/>
          <pc:sldMk cId="310941885" sldId="622"/>
        </pc:sldMkLst>
      </pc:sldChg>
      <pc:sldChg chg="addSp delSp modSp mod">
        <pc:chgData name="Pavel Anistratov" userId="f2672789-d0d7-41ee-88f6-6babeb037738" providerId="ADAL" clId="{A27D46DA-1688-7940-97FB-CF6167F239F2}" dt="2023-05-10T14:48:08.423" v="2297" actId="255"/>
        <pc:sldMkLst>
          <pc:docMk/>
          <pc:sldMk cId="3295639740" sldId="623"/>
        </pc:sldMkLst>
        <pc:spChg chg="mod">
          <ac:chgData name="Pavel Anistratov" userId="f2672789-d0d7-41ee-88f6-6babeb037738" providerId="ADAL" clId="{A27D46DA-1688-7940-97FB-CF6167F239F2}" dt="2023-05-10T14:48:08.423" v="2297" actId="255"/>
          <ac:spMkLst>
            <pc:docMk/>
            <pc:sldMk cId="3295639740" sldId="623"/>
            <ac:spMk id="2" creationId="{00000000-0000-0000-0000-000000000000}"/>
          </ac:spMkLst>
        </pc:spChg>
        <pc:spChg chg="mod">
          <ac:chgData name="Pavel Anistratov" userId="f2672789-d0d7-41ee-88f6-6babeb037738" providerId="ADAL" clId="{A27D46DA-1688-7940-97FB-CF6167F239F2}" dt="2023-05-10T14:48:02.768" v="2296" actId="1076"/>
          <ac:spMkLst>
            <pc:docMk/>
            <pc:sldMk cId="3295639740" sldId="623"/>
            <ac:spMk id="3" creationId="{00000000-0000-0000-0000-000000000000}"/>
          </ac:spMkLst>
        </pc:spChg>
        <pc:spChg chg="del">
          <ac:chgData name="Pavel Anistratov" userId="f2672789-d0d7-41ee-88f6-6babeb037738" providerId="ADAL" clId="{A27D46DA-1688-7940-97FB-CF6167F239F2}" dt="2023-05-09T12:51:31.584" v="444" actId="478"/>
          <ac:spMkLst>
            <pc:docMk/>
            <pc:sldMk cId="3295639740" sldId="623"/>
            <ac:spMk id="4" creationId="{00000000-0000-0000-0000-000000000000}"/>
          </ac:spMkLst>
        </pc:spChg>
        <pc:picChg chg="add del mod">
          <ac:chgData name="Pavel Anistratov" userId="f2672789-d0d7-41ee-88f6-6babeb037738" providerId="ADAL" clId="{A27D46DA-1688-7940-97FB-CF6167F239F2}" dt="2023-05-09T12:51:27.664" v="443" actId="478"/>
          <ac:picMkLst>
            <pc:docMk/>
            <pc:sldMk cId="3295639740" sldId="623"/>
            <ac:picMk id="5" creationId="{32E287A0-B2B5-619B-072D-E7C1C0F01E08}"/>
          </ac:picMkLst>
        </pc:picChg>
      </pc:sldChg>
      <pc:sldChg chg="del">
        <pc:chgData name="Pavel Anistratov" userId="f2672789-d0d7-41ee-88f6-6babeb037738" providerId="ADAL" clId="{A27D46DA-1688-7940-97FB-CF6167F239F2}" dt="2023-05-08T14:04:08.241" v="3" actId="2696"/>
        <pc:sldMkLst>
          <pc:docMk/>
          <pc:sldMk cId="1793295324" sldId="624"/>
        </pc:sldMkLst>
      </pc:sldChg>
      <pc:sldChg chg="modSp mod modAnim">
        <pc:chgData name="Pavel Anistratov" userId="f2672789-d0d7-41ee-88f6-6babeb037738" providerId="ADAL" clId="{A27D46DA-1688-7940-97FB-CF6167F239F2}" dt="2023-05-10T13:49:19.704" v="2274" actId="1038"/>
        <pc:sldMkLst>
          <pc:docMk/>
          <pc:sldMk cId="4104214687" sldId="625"/>
        </pc:sldMkLst>
        <pc:spChg chg="mod">
          <ac:chgData name="Pavel Anistratov" userId="f2672789-d0d7-41ee-88f6-6babeb037738" providerId="ADAL" clId="{A27D46DA-1688-7940-97FB-CF6167F239F2}" dt="2023-05-10T13:49:19.704" v="2274" actId="1038"/>
          <ac:spMkLst>
            <pc:docMk/>
            <pc:sldMk cId="4104214687" sldId="625"/>
            <ac:spMk id="20" creationId="{A61FA3A7-72D0-D4C8-AFE1-0FB5CF417478}"/>
          </ac:spMkLst>
        </pc:spChg>
      </pc:sldChg>
      <pc:sldChg chg="modSp">
        <pc:chgData name="Pavel Anistratov" userId="f2672789-d0d7-41ee-88f6-6babeb037738" providerId="ADAL" clId="{A27D46DA-1688-7940-97FB-CF6167F239F2}" dt="2023-05-08T14:06:46.437" v="64" actId="13926"/>
        <pc:sldMkLst>
          <pc:docMk/>
          <pc:sldMk cId="3742242717" sldId="627"/>
        </pc:sldMkLst>
        <pc:spChg chg="mod">
          <ac:chgData name="Pavel Anistratov" userId="f2672789-d0d7-41ee-88f6-6babeb037738" providerId="ADAL" clId="{A27D46DA-1688-7940-97FB-CF6167F239F2}" dt="2023-05-08T14:06:46.437" v="64" actId="13926"/>
          <ac:spMkLst>
            <pc:docMk/>
            <pc:sldMk cId="3742242717" sldId="627"/>
            <ac:spMk id="5" creationId="{607CF10E-930F-308E-8CBB-EC0CDC2CC122}"/>
          </ac:spMkLst>
        </pc:spChg>
      </pc:sldChg>
      <pc:sldChg chg="del mod modShow">
        <pc:chgData name="Pavel Anistratov" userId="f2672789-d0d7-41ee-88f6-6babeb037738" providerId="ADAL" clId="{A27D46DA-1688-7940-97FB-CF6167F239F2}" dt="2023-05-09T13:20:01.496" v="617" actId="2696"/>
        <pc:sldMkLst>
          <pc:docMk/>
          <pc:sldMk cId="3233442941" sldId="629"/>
        </pc:sldMkLst>
      </pc:sldChg>
      <pc:sldChg chg="del">
        <pc:chgData name="Pavel Anistratov" userId="f2672789-d0d7-41ee-88f6-6babeb037738" providerId="ADAL" clId="{A27D46DA-1688-7940-97FB-CF6167F239F2}" dt="2023-05-09T13:20:50.375" v="640" actId="2696"/>
        <pc:sldMkLst>
          <pc:docMk/>
          <pc:sldMk cId="3894600025" sldId="630"/>
        </pc:sldMkLst>
      </pc:sldChg>
      <pc:sldChg chg="modSp del mod modShow">
        <pc:chgData name="Pavel Anistratov" userId="f2672789-d0d7-41ee-88f6-6babeb037738" providerId="ADAL" clId="{A27D46DA-1688-7940-97FB-CF6167F239F2}" dt="2023-05-10T14:03:21.699" v="2287" actId="2696"/>
        <pc:sldMkLst>
          <pc:docMk/>
          <pc:sldMk cId="2418739209" sldId="631"/>
        </pc:sldMkLst>
        <pc:grpChg chg="mod">
          <ac:chgData name="Pavel Anistratov" userId="f2672789-d0d7-41ee-88f6-6babeb037738" providerId="ADAL" clId="{A27D46DA-1688-7940-97FB-CF6167F239F2}" dt="2023-05-08T14:07:52.645" v="65" actId="1076"/>
          <ac:grpSpMkLst>
            <pc:docMk/>
            <pc:sldMk cId="2418739209" sldId="631"/>
            <ac:grpSpMk id="81" creationId="{00000000-0000-0000-0000-000000000000}"/>
          </ac:grpSpMkLst>
        </pc:grpChg>
      </pc:sldChg>
      <pc:sldChg chg="del mod modShow">
        <pc:chgData name="Pavel Anistratov" userId="f2672789-d0d7-41ee-88f6-6babeb037738" providerId="ADAL" clId="{A27D46DA-1688-7940-97FB-CF6167F239F2}" dt="2023-05-10T14:03:23.057" v="2288" actId="2696"/>
        <pc:sldMkLst>
          <pc:docMk/>
          <pc:sldMk cId="1748373284" sldId="632"/>
        </pc:sldMkLst>
      </pc:sldChg>
      <pc:sldChg chg="addSp delSp modSp mod">
        <pc:chgData name="Pavel Anistratov" userId="f2672789-d0d7-41ee-88f6-6babeb037738" providerId="ADAL" clId="{A27D46DA-1688-7940-97FB-CF6167F239F2}" dt="2023-05-08T14:10:31.194" v="82" actId="1038"/>
        <pc:sldMkLst>
          <pc:docMk/>
          <pc:sldMk cId="1530949855" sldId="633"/>
        </pc:sldMkLst>
        <pc:grpChg chg="del">
          <ac:chgData name="Pavel Anistratov" userId="f2672789-d0d7-41ee-88f6-6babeb037738" providerId="ADAL" clId="{A27D46DA-1688-7940-97FB-CF6167F239F2}" dt="2023-05-08T14:10:13.774" v="68" actId="478"/>
          <ac:grpSpMkLst>
            <pc:docMk/>
            <pc:sldMk cId="1530949855" sldId="633"/>
            <ac:grpSpMk id="32" creationId="{3EE73880-15ED-0E7F-2001-C01736E9E77C}"/>
          </ac:grpSpMkLst>
        </pc:grpChg>
        <pc:picChg chg="add mod">
          <ac:chgData name="Pavel Anistratov" userId="f2672789-d0d7-41ee-88f6-6babeb037738" providerId="ADAL" clId="{A27D46DA-1688-7940-97FB-CF6167F239F2}" dt="2023-05-08T14:10:31.194" v="82" actId="1038"/>
          <ac:picMkLst>
            <pc:docMk/>
            <pc:sldMk cId="1530949855" sldId="633"/>
            <ac:picMk id="2" creationId="{D12EC20B-36E7-06D0-66E6-62EFE16D21F0}"/>
          </ac:picMkLst>
        </pc:picChg>
        <pc:picChg chg="del mod">
          <ac:chgData name="Pavel Anistratov" userId="f2672789-d0d7-41ee-88f6-6babeb037738" providerId="ADAL" clId="{A27D46DA-1688-7940-97FB-CF6167F239F2}" dt="2023-05-08T14:10:17.023" v="69" actId="478"/>
          <ac:picMkLst>
            <pc:docMk/>
            <pc:sldMk cId="1530949855" sldId="633"/>
            <ac:picMk id="33" creationId="{0C8DB485-1B79-A83A-0D3C-EACEE316898F}"/>
          </ac:picMkLst>
        </pc:picChg>
        <pc:picChg chg="del mod">
          <ac:chgData name="Pavel Anistratov" userId="f2672789-d0d7-41ee-88f6-6babeb037738" providerId="ADAL" clId="{A27D46DA-1688-7940-97FB-CF6167F239F2}" dt="2023-05-08T14:10:13.774" v="68" actId="478"/>
          <ac:picMkLst>
            <pc:docMk/>
            <pc:sldMk cId="1530949855" sldId="633"/>
            <ac:picMk id="34" creationId="{CDA94905-D2B9-A967-2FC9-25F06E55A67B}"/>
          </ac:picMkLst>
        </pc:picChg>
      </pc:sldChg>
      <pc:sldChg chg="modSp add del mod setBg">
        <pc:chgData name="Pavel Anistratov" userId="f2672789-d0d7-41ee-88f6-6babeb037738" providerId="ADAL" clId="{A27D46DA-1688-7940-97FB-CF6167F239F2}" dt="2023-05-10T13:34:27.657" v="2212" actId="20577"/>
        <pc:sldMkLst>
          <pc:docMk/>
          <pc:sldMk cId="50767451" sldId="635"/>
        </pc:sldMkLst>
        <pc:spChg chg="mod">
          <ac:chgData name="Pavel Anistratov" userId="f2672789-d0d7-41ee-88f6-6babeb037738" providerId="ADAL" clId="{A27D46DA-1688-7940-97FB-CF6167F239F2}" dt="2023-05-10T13:34:27.657" v="2212" actId="20577"/>
          <ac:spMkLst>
            <pc:docMk/>
            <pc:sldMk cId="50767451" sldId="635"/>
            <ac:spMk id="4" creationId="{6A7B2C67-4ADB-44A0-F4C2-C9B57F970E30}"/>
          </ac:spMkLst>
        </pc:spChg>
      </pc:sldChg>
      <pc:sldChg chg="del">
        <pc:chgData name="Pavel Anistratov" userId="f2672789-d0d7-41ee-88f6-6babeb037738" providerId="ADAL" clId="{A27D46DA-1688-7940-97FB-CF6167F239F2}" dt="2023-05-08T14:05:54.462" v="62" actId="2696"/>
        <pc:sldMkLst>
          <pc:docMk/>
          <pc:sldMk cId="1251003800" sldId="635"/>
        </pc:sldMkLst>
      </pc:sldChg>
      <pc:sldChg chg="add">
        <pc:chgData name="Pavel Anistratov" userId="f2672789-d0d7-41ee-88f6-6babeb037738" providerId="ADAL" clId="{A27D46DA-1688-7940-97FB-CF6167F239F2}" dt="2023-05-08T14:15:43.249" v="135"/>
        <pc:sldMkLst>
          <pc:docMk/>
          <pc:sldMk cId="1079073017" sldId="636"/>
        </pc:sldMkLst>
      </pc:sldChg>
      <pc:sldChg chg="add">
        <pc:chgData name="Pavel Anistratov" userId="f2672789-d0d7-41ee-88f6-6babeb037738" providerId="ADAL" clId="{A27D46DA-1688-7940-97FB-CF6167F239F2}" dt="2023-05-08T14:15:43.249" v="135"/>
        <pc:sldMkLst>
          <pc:docMk/>
          <pc:sldMk cId="2513916435" sldId="637"/>
        </pc:sldMkLst>
      </pc:sldChg>
      <pc:sldChg chg="add">
        <pc:chgData name="Pavel Anistratov" userId="f2672789-d0d7-41ee-88f6-6babeb037738" providerId="ADAL" clId="{A27D46DA-1688-7940-97FB-CF6167F239F2}" dt="2023-05-08T14:15:43.249" v="135"/>
        <pc:sldMkLst>
          <pc:docMk/>
          <pc:sldMk cId="1731859726" sldId="638"/>
        </pc:sldMkLst>
      </pc:sldChg>
      <pc:sldChg chg="modSp add mod ord">
        <pc:chgData name="Pavel Anistratov" userId="f2672789-d0d7-41ee-88f6-6babeb037738" providerId="ADAL" clId="{A27D46DA-1688-7940-97FB-CF6167F239F2}" dt="2023-05-09T14:22:43.711" v="1148" actId="20578"/>
        <pc:sldMkLst>
          <pc:docMk/>
          <pc:sldMk cId="3201282481" sldId="639"/>
        </pc:sldMkLst>
        <pc:spChg chg="mod">
          <ac:chgData name="Pavel Anistratov" userId="f2672789-d0d7-41ee-88f6-6babeb037738" providerId="ADAL" clId="{A27D46DA-1688-7940-97FB-CF6167F239F2}" dt="2023-05-09T13:21:31.672" v="641" actId="20577"/>
          <ac:spMkLst>
            <pc:docMk/>
            <pc:sldMk cId="3201282481" sldId="639"/>
            <ac:spMk id="2" creationId="{2B9E0DAB-F890-AFDA-6A08-194C810BC5AA}"/>
          </ac:spMkLst>
        </pc:spChg>
        <pc:spChg chg="mod">
          <ac:chgData name="Pavel Anistratov" userId="f2672789-d0d7-41ee-88f6-6babeb037738" providerId="ADAL" clId="{A27D46DA-1688-7940-97FB-CF6167F239F2}" dt="2023-05-09T13:19:41.370" v="616" actId="20577"/>
          <ac:spMkLst>
            <pc:docMk/>
            <pc:sldMk cId="3201282481" sldId="639"/>
            <ac:spMk id="9" creationId="{3E5F4A15-9CE6-84C9-6F3D-4505BF9D2073}"/>
          </ac:spMkLst>
        </pc:spChg>
        <pc:spChg chg="mod">
          <ac:chgData name="Pavel Anistratov" userId="f2672789-d0d7-41ee-88f6-6babeb037738" providerId="ADAL" clId="{A27D46DA-1688-7940-97FB-CF6167F239F2}" dt="2023-05-09T13:19:12.716" v="610" actId="1076"/>
          <ac:spMkLst>
            <pc:docMk/>
            <pc:sldMk cId="3201282481" sldId="639"/>
            <ac:spMk id="17" creationId="{33B36609-BB99-071F-2BFC-C0D75F72776A}"/>
          </ac:spMkLst>
        </pc:spChg>
        <pc:cxnChg chg="mod">
          <ac:chgData name="Pavel Anistratov" userId="f2672789-d0d7-41ee-88f6-6babeb037738" providerId="ADAL" clId="{A27D46DA-1688-7940-97FB-CF6167F239F2}" dt="2023-05-09T13:19:40.025" v="614" actId="20577"/>
          <ac:cxnSpMkLst>
            <pc:docMk/>
            <pc:sldMk cId="3201282481" sldId="639"/>
            <ac:cxnSpMk id="14" creationId="{E7D0A88D-290A-E74E-5BD8-21438BF314A0}"/>
          </ac:cxnSpMkLst>
        </pc:cxnChg>
        <pc:cxnChg chg="mod">
          <ac:chgData name="Pavel Anistratov" userId="f2672789-d0d7-41ee-88f6-6babeb037738" providerId="ADAL" clId="{A27D46DA-1688-7940-97FB-CF6167F239F2}" dt="2023-05-09T13:19:40.025" v="614" actId="20577"/>
          <ac:cxnSpMkLst>
            <pc:docMk/>
            <pc:sldMk cId="3201282481" sldId="639"/>
            <ac:cxnSpMk id="19" creationId="{B25EBC8E-889D-18CE-5066-0F26E7F6EE6B}"/>
          </ac:cxnSpMkLst>
        </pc:cxnChg>
        <pc:cxnChg chg="mod">
          <ac:chgData name="Pavel Anistratov" userId="f2672789-d0d7-41ee-88f6-6babeb037738" providerId="ADAL" clId="{A27D46DA-1688-7940-97FB-CF6167F239F2}" dt="2023-05-09T13:19:12.716" v="610" actId="1076"/>
          <ac:cxnSpMkLst>
            <pc:docMk/>
            <pc:sldMk cId="3201282481" sldId="639"/>
            <ac:cxnSpMk id="20" creationId="{53A820C9-FA64-76FE-F718-7741D4C19650}"/>
          </ac:cxnSpMkLst>
        </pc:cxnChg>
        <pc:cxnChg chg="mod">
          <ac:chgData name="Pavel Anistratov" userId="f2672789-d0d7-41ee-88f6-6babeb037738" providerId="ADAL" clId="{A27D46DA-1688-7940-97FB-CF6167F239F2}" dt="2023-05-09T13:19:12.716" v="610" actId="1076"/>
          <ac:cxnSpMkLst>
            <pc:docMk/>
            <pc:sldMk cId="3201282481" sldId="639"/>
            <ac:cxnSpMk id="21" creationId="{3C04CA08-685C-207F-E531-7B1C857ACBDE}"/>
          </ac:cxnSpMkLst>
        </pc:cxnChg>
        <pc:cxnChg chg="mod">
          <ac:chgData name="Pavel Anistratov" userId="f2672789-d0d7-41ee-88f6-6babeb037738" providerId="ADAL" clId="{A27D46DA-1688-7940-97FB-CF6167F239F2}" dt="2023-05-09T13:19:12.716" v="610" actId="1076"/>
          <ac:cxnSpMkLst>
            <pc:docMk/>
            <pc:sldMk cId="3201282481" sldId="639"/>
            <ac:cxnSpMk id="22" creationId="{04611354-C5A0-61AD-92D8-B98907DBA25A}"/>
          </ac:cxnSpMkLst>
        </pc:cxnChg>
      </pc:sldChg>
      <pc:sldChg chg="modSp add mod">
        <pc:chgData name="Pavel Anistratov" userId="f2672789-d0d7-41ee-88f6-6babeb037738" providerId="ADAL" clId="{A27D46DA-1688-7940-97FB-CF6167F239F2}" dt="2023-05-08T14:25:13.290" v="408" actId="255"/>
        <pc:sldMkLst>
          <pc:docMk/>
          <pc:sldMk cId="2144637211" sldId="641"/>
        </pc:sldMkLst>
        <pc:spChg chg="mod">
          <ac:chgData name="Pavel Anistratov" userId="f2672789-d0d7-41ee-88f6-6babeb037738" providerId="ADAL" clId="{A27D46DA-1688-7940-97FB-CF6167F239F2}" dt="2023-05-08T14:25:13.290" v="408" actId="255"/>
          <ac:spMkLst>
            <pc:docMk/>
            <pc:sldMk cId="2144637211" sldId="641"/>
            <ac:spMk id="3" creationId="{70A130CC-C3F2-CEB3-4C41-7A75FAA11F08}"/>
          </ac:spMkLst>
        </pc:spChg>
        <pc:picChg chg="mod">
          <ac:chgData name="Pavel Anistratov" userId="f2672789-d0d7-41ee-88f6-6babeb037738" providerId="ADAL" clId="{A27D46DA-1688-7940-97FB-CF6167F239F2}" dt="2023-05-08T14:24:59.079" v="407" actId="167"/>
          <ac:picMkLst>
            <pc:docMk/>
            <pc:sldMk cId="2144637211" sldId="641"/>
            <ac:picMk id="7" creationId="{7ED42F15-12F6-556F-F0D6-DDE8EDE17079}"/>
          </ac:picMkLst>
        </pc:picChg>
      </pc:sldChg>
      <pc:sldChg chg="addSp delSp modSp add del mod">
        <pc:chgData name="Pavel Anistratov" userId="f2672789-d0d7-41ee-88f6-6babeb037738" providerId="ADAL" clId="{A27D46DA-1688-7940-97FB-CF6167F239F2}" dt="2023-05-09T13:07:20.316" v="567" actId="2696"/>
        <pc:sldMkLst>
          <pc:docMk/>
          <pc:sldMk cId="2981133737" sldId="644"/>
        </pc:sldMkLst>
        <pc:picChg chg="add mod">
          <ac:chgData name="Pavel Anistratov" userId="f2672789-d0d7-41ee-88f6-6babeb037738" providerId="ADAL" clId="{A27D46DA-1688-7940-97FB-CF6167F239F2}" dt="2023-05-09T13:06:12.405" v="565" actId="1076"/>
          <ac:picMkLst>
            <pc:docMk/>
            <pc:sldMk cId="2981133737" sldId="644"/>
            <ac:picMk id="6" creationId="{96AFC231-367A-0924-503F-C31A949B7275}"/>
          </ac:picMkLst>
        </pc:picChg>
        <pc:picChg chg="add mod">
          <ac:chgData name="Pavel Anistratov" userId="f2672789-d0d7-41ee-88f6-6babeb037738" providerId="ADAL" clId="{A27D46DA-1688-7940-97FB-CF6167F239F2}" dt="2023-05-09T13:06:13.772" v="566" actId="1076"/>
          <ac:picMkLst>
            <pc:docMk/>
            <pc:sldMk cId="2981133737" sldId="644"/>
            <ac:picMk id="7" creationId="{124C389E-10C7-9EA3-890D-5ABBFC18988D}"/>
          </ac:picMkLst>
        </pc:picChg>
        <pc:picChg chg="del">
          <ac:chgData name="Pavel Anistratov" userId="f2672789-d0d7-41ee-88f6-6babeb037738" providerId="ADAL" clId="{A27D46DA-1688-7940-97FB-CF6167F239F2}" dt="2023-05-09T13:05:58.650" v="558" actId="478"/>
          <ac:picMkLst>
            <pc:docMk/>
            <pc:sldMk cId="2981133737" sldId="644"/>
            <ac:picMk id="17" creationId="{59078FF3-3141-29A7-DE85-D3E25E6D15A2}"/>
          </ac:picMkLst>
        </pc:picChg>
        <pc:picChg chg="del">
          <ac:chgData name="Pavel Anistratov" userId="f2672789-d0d7-41ee-88f6-6babeb037738" providerId="ADAL" clId="{A27D46DA-1688-7940-97FB-CF6167F239F2}" dt="2023-05-09T13:05:59.400" v="559" actId="478"/>
          <ac:picMkLst>
            <pc:docMk/>
            <pc:sldMk cId="2981133737" sldId="644"/>
            <ac:picMk id="19" creationId="{B81DA7CC-C39D-6053-6829-1868947EC5FE}"/>
          </ac:picMkLst>
        </pc:picChg>
      </pc:sldChg>
      <pc:sldChg chg="modSp add mod">
        <pc:chgData name="Pavel Anistratov" userId="f2672789-d0d7-41ee-88f6-6babeb037738" providerId="ADAL" clId="{A27D46DA-1688-7940-97FB-CF6167F239F2}" dt="2023-05-10T13:38:55.920" v="2232" actId="20577"/>
        <pc:sldMkLst>
          <pc:docMk/>
          <pc:sldMk cId="2271753084" sldId="645"/>
        </pc:sldMkLst>
        <pc:spChg chg="mod">
          <ac:chgData name="Pavel Anistratov" userId="f2672789-d0d7-41ee-88f6-6babeb037738" providerId="ADAL" clId="{A27D46DA-1688-7940-97FB-CF6167F239F2}" dt="2023-05-10T13:38:55.920" v="2232" actId="20577"/>
          <ac:spMkLst>
            <pc:docMk/>
            <pc:sldMk cId="2271753084" sldId="645"/>
            <ac:spMk id="3" creationId="{6D03394C-17BE-AA71-1422-87EA31642E08}"/>
          </ac:spMkLst>
        </pc:spChg>
      </pc:sldChg>
      <pc:sldChg chg="modSp add mod">
        <pc:chgData name="Pavel Anistratov" userId="f2672789-d0d7-41ee-88f6-6babeb037738" providerId="ADAL" clId="{A27D46DA-1688-7940-97FB-CF6167F239F2}" dt="2023-05-10T13:56:38.836" v="2284"/>
        <pc:sldMkLst>
          <pc:docMk/>
          <pc:sldMk cId="4147819440" sldId="647"/>
        </pc:sldMkLst>
        <pc:spChg chg="mod">
          <ac:chgData name="Pavel Anistratov" userId="f2672789-d0d7-41ee-88f6-6babeb037738" providerId="ADAL" clId="{A27D46DA-1688-7940-97FB-CF6167F239F2}" dt="2023-05-10T13:56:38.836" v="2284"/>
          <ac:spMkLst>
            <pc:docMk/>
            <pc:sldMk cId="4147819440" sldId="647"/>
            <ac:spMk id="6" creationId="{56D8D577-F0A3-AC29-ED57-C5BDE53F6F84}"/>
          </ac:spMkLst>
        </pc:spChg>
      </pc:sldChg>
      <pc:sldChg chg="addSp delSp modSp new mod">
        <pc:chgData name="Pavel Anistratov" userId="f2672789-d0d7-41ee-88f6-6babeb037738" providerId="ADAL" clId="{A27D46DA-1688-7940-97FB-CF6167F239F2}" dt="2023-05-10T14:49:25.274" v="2301" actId="20577"/>
        <pc:sldMkLst>
          <pc:docMk/>
          <pc:sldMk cId="1456961816" sldId="648"/>
        </pc:sldMkLst>
        <pc:spChg chg="mod">
          <ac:chgData name="Pavel Anistratov" userId="f2672789-d0d7-41ee-88f6-6babeb037738" providerId="ADAL" clId="{A27D46DA-1688-7940-97FB-CF6167F239F2}" dt="2023-05-10T14:49:25.274" v="2301" actId="20577"/>
          <ac:spMkLst>
            <pc:docMk/>
            <pc:sldMk cId="1456961816" sldId="648"/>
            <ac:spMk id="2" creationId="{D32B6635-E41E-EA07-3B23-37DF95B49AAB}"/>
          </ac:spMkLst>
        </pc:spChg>
        <pc:spChg chg="del">
          <ac:chgData name="Pavel Anistratov" userId="f2672789-d0d7-41ee-88f6-6babeb037738" providerId="ADAL" clId="{A27D46DA-1688-7940-97FB-CF6167F239F2}" dt="2023-05-08T14:13:39.799" v="98"/>
          <ac:spMkLst>
            <pc:docMk/>
            <pc:sldMk cId="1456961816" sldId="648"/>
            <ac:spMk id="3" creationId="{1D00B1B4-B7F7-57B4-0F74-B5C9EC641B7D}"/>
          </ac:spMkLst>
        </pc:spChg>
        <pc:picChg chg="add mod">
          <ac:chgData name="Pavel Anistratov" userId="f2672789-d0d7-41ee-88f6-6babeb037738" providerId="ADAL" clId="{A27D46DA-1688-7940-97FB-CF6167F239F2}" dt="2023-05-08T14:14:05.602" v="124" actId="1037"/>
          <ac:picMkLst>
            <pc:docMk/>
            <pc:sldMk cId="1456961816" sldId="648"/>
            <ac:picMk id="7" creationId="{8C976116-74C2-F91C-0D92-3DE3AD62BD08}"/>
          </ac:picMkLst>
        </pc:picChg>
        <pc:picChg chg="add mod">
          <ac:chgData name="Pavel Anistratov" userId="f2672789-d0d7-41ee-88f6-6babeb037738" providerId="ADAL" clId="{A27D46DA-1688-7940-97FB-CF6167F239F2}" dt="2023-05-08T14:14:08.316" v="134" actId="1037"/>
          <ac:picMkLst>
            <pc:docMk/>
            <pc:sldMk cId="1456961816" sldId="648"/>
            <ac:picMk id="9" creationId="{4E2CD394-7128-61E0-F767-6C12D2687906}"/>
          </ac:picMkLst>
        </pc:picChg>
      </pc:sldChg>
      <pc:sldChg chg="addSp modSp new mod">
        <pc:chgData name="Pavel Anistratov" userId="f2672789-d0d7-41ee-88f6-6babeb037738" providerId="ADAL" clId="{A27D46DA-1688-7940-97FB-CF6167F239F2}" dt="2023-05-10T13:37:29.957" v="2225" actId="20577"/>
        <pc:sldMkLst>
          <pc:docMk/>
          <pc:sldMk cId="2092267932" sldId="649"/>
        </pc:sldMkLst>
        <pc:spChg chg="mod">
          <ac:chgData name="Pavel Anistratov" userId="f2672789-d0d7-41ee-88f6-6babeb037738" providerId="ADAL" clId="{A27D46DA-1688-7940-97FB-CF6167F239F2}" dt="2023-05-10T13:37:29.957" v="2225" actId="20577"/>
          <ac:spMkLst>
            <pc:docMk/>
            <pc:sldMk cId="2092267932" sldId="649"/>
            <ac:spMk id="2" creationId="{5578D970-AD6C-8083-DB88-41F4A6CC430A}"/>
          </ac:spMkLst>
        </pc:spChg>
        <pc:spChg chg="mod">
          <ac:chgData name="Pavel Anistratov" userId="f2672789-d0d7-41ee-88f6-6babeb037738" providerId="ADAL" clId="{A27D46DA-1688-7940-97FB-CF6167F239F2}" dt="2023-05-10T13:36:44.842" v="2217" actId="113"/>
          <ac:spMkLst>
            <pc:docMk/>
            <pc:sldMk cId="2092267932" sldId="649"/>
            <ac:spMk id="3" creationId="{7626A091-BB7C-942F-DE4D-1D0874E275E6}"/>
          </ac:spMkLst>
        </pc:spChg>
        <pc:picChg chg="add mod modCrop">
          <ac:chgData name="Pavel Anistratov" userId="f2672789-d0d7-41ee-88f6-6babeb037738" providerId="ADAL" clId="{A27D46DA-1688-7940-97FB-CF6167F239F2}" dt="2023-05-09T14:21:12.945" v="1077" actId="1076"/>
          <ac:picMkLst>
            <pc:docMk/>
            <pc:sldMk cId="2092267932" sldId="649"/>
            <ac:picMk id="6" creationId="{25BB10B0-B458-B925-262F-A5960B47B9C3}"/>
          </ac:picMkLst>
        </pc:picChg>
      </pc:sldChg>
      <pc:sldChg chg="addSp delSp modSp add mod modAnim">
        <pc:chgData name="Pavel Anistratov" userId="f2672789-d0d7-41ee-88f6-6babeb037738" providerId="ADAL" clId="{A27D46DA-1688-7940-97FB-CF6167F239F2}" dt="2023-05-10T13:42:48.940" v="2242" actId="20577"/>
        <pc:sldMkLst>
          <pc:docMk/>
          <pc:sldMk cId="64463619" sldId="650"/>
        </pc:sldMkLst>
        <pc:spChg chg="mod">
          <ac:chgData name="Pavel Anistratov" userId="f2672789-d0d7-41ee-88f6-6babeb037738" providerId="ADAL" clId="{A27D46DA-1688-7940-97FB-CF6167F239F2}" dt="2023-05-10T13:42:48.940" v="2242" actId="20577"/>
          <ac:spMkLst>
            <pc:docMk/>
            <pc:sldMk cId="64463619" sldId="650"/>
            <ac:spMk id="2" creationId="{E6D5F224-BE41-3253-FF01-48D0D01356E5}"/>
          </ac:spMkLst>
        </pc:spChg>
        <pc:spChg chg="add del mod">
          <ac:chgData name="Pavel Anistratov" userId="f2672789-d0d7-41ee-88f6-6babeb037738" providerId="ADAL" clId="{A27D46DA-1688-7940-97FB-CF6167F239F2}" dt="2023-05-09T12:58:27.447" v="458"/>
          <ac:spMkLst>
            <pc:docMk/>
            <pc:sldMk cId="64463619" sldId="650"/>
            <ac:spMk id="6" creationId="{2641EE2A-A922-E045-A068-E8A7009E68C1}"/>
          </ac:spMkLst>
        </pc:spChg>
        <pc:picChg chg="del">
          <ac:chgData name="Pavel Anistratov" userId="f2672789-d0d7-41ee-88f6-6babeb037738" providerId="ADAL" clId="{A27D46DA-1688-7940-97FB-CF6167F239F2}" dt="2023-05-09T12:56:40.354" v="448" actId="478"/>
          <ac:picMkLst>
            <pc:docMk/>
            <pc:sldMk cId="64463619" sldId="650"/>
            <ac:picMk id="7" creationId="{6261D7B9-97AF-6C83-521B-34746BA49028}"/>
          </ac:picMkLst>
        </pc:picChg>
        <pc:picChg chg="add mod">
          <ac:chgData name="Pavel Anistratov" userId="f2672789-d0d7-41ee-88f6-6babeb037738" providerId="ADAL" clId="{A27D46DA-1688-7940-97FB-CF6167F239F2}" dt="2023-05-09T14:40:20.056" v="1431" actId="1076"/>
          <ac:picMkLst>
            <pc:docMk/>
            <pc:sldMk cId="64463619" sldId="650"/>
            <ac:picMk id="8" creationId="{8D763206-751F-8522-0869-B89696F86088}"/>
          </ac:picMkLst>
        </pc:picChg>
        <pc:picChg chg="add mod modCrop">
          <ac:chgData name="Pavel Anistratov" userId="f2672789-d0d7-41ee-88f6-6babeb037738" providerId="ADAL" clId="{A27D46DA-1688-7940-97FB-CF6167F239F2}" dt="2023-05-09T14:40:22.676" v="1432" actId="1076"/>
          <ac:picMkLst>
            <pc:docMk/>
            <pc:sldMk cId="64463619" sldId="650"/>
            <ac:picMk id="9" creationId="{3DFF1754-0179-8813-6095-31BB841AF104}"/>
          </ac:picMkLst>
        </pc:picChg>
        <pc:picChg chg="add mod">
          <ac:chgData name="Pavel Anistratov" userId="f2672789-d0d7-41ee-88f6-6babeb037738" providerId="ADAL" clId="{A27D46DA-1688-7940-97FB-CF6167F239F2}" dt="2023-05-09T14:40:25.812" v="1434" actId="1076"/>
          <ac:picMkLst>
            <pc:docMk/>
            <pc:sldMk cId="64463619" sldId="650"/>
            <ac:picMk id="10" creationId="{840EFD25-454E-7D52-651D-DC9B55B8F9E0}"/>
          </ac:picMkLst>
        </pc:picChg>
        <pc:picChg chg="add mod">
          <ac:chgData name="Pavel Anistratov" userId="f2672789-d0d7-41ee-88f6-6babeb037738" providerId="ADAL" clId="{A27D46DA-1688-7940-97FB-CF6167F239F2}" dt="2023-05-09T14:40:24.276" v="1433" actId="1076"/>
          <ac:picMkLst>
            <pc:docMk/>
            <pc:sldMk cId="64463619" sldId="650"/>
            <ac:picMk id="11" creationId="{74438C8D-A14E-0CD7-0FB2-6A1D6944EFAE}"/>
          </ac:picMkLst>
        </pc:picChg>
      </pc:sldChg>
      <pc:sldChg chg="addSp delSp modSp new mod">
        <pc:chgData name="Pavel Anistratov" userId="f2672789-d0d7-41ee-88f6-6babeb037738" providerId="ADAL" clId="{A27D46DA-1688-7940-97FB-CF6167F239F2}" dt="2023-05-10T13:37:45.861" v="2227" actId="20577"/>
        <pc:sldMkLst>
          <pc:docMk/>
          <pc:sldMk cId="4135527103" sldId="651"/>
        </pc:sldMkLst>
        <pc:spChg chg="mod">
          <ac:chgData name="Pavel Anistratov" userId="f2672789-d0d7-41ee-88f6-6babeb037738" providerId="ADAL" clId="{A27D46DA-1688-7940-97FB-CF6167F239F2}" dt="2023-05-10T13:37:45.861" v="2227" actId="20577"/>
          <ac:spMkLst>
            <pc:docMk/>
            <pc:sldMk cId="4135527103" sldId="651"/>
            <ac:spMk id="2" creationId="{642ABEAC-12F3-7DFC-8B07-07930E18278F}"/>
          </ac:spMkLst>
        </pc:spChg>
        <pc:spChg chg="del">
          <ac:chgData name="Pavel Anistratov" userId="f2672789-d0d7-41ee-88f6-6babeb037738" providerId="ADAL" clId="{A27D46DA-1688-7940-97FB-CF6167F239F2}" dt="2023-05-09T13:00:12.104" v="472"/>
          <ac:spMkLst>
            <pc:docMk/>
            <pc:sldMk cId="4135527103" sldId="651"/>
            <ac:spMk id="3" creationId="{E7D22EB8-92E5-D726-F25D-8E27E151F03A}"/>
          </ac:spMkLst>
        </pc:spChg>
        <pc:spChg chg="add mod">
          <ac:chgData name="Pavel Anistratov" userId="f2672789-d0d7-41ee-88f6-6babeb037738" providerId="ADAL" clId="{A27D46DA-1688-7940-97FB-CF6167F239F2}" dt="2023-05-10T13:33:52.295" v="2191" actId="478"/>
          <ac:spMkLst>
            <pc:docMk/>
            <pc:sldMk cId="4135527103" sldId="651"/>
            <ac:spMk id="6" creationId="{63BD7B97-72BC-7AE3-AEC5-EE0C1EBD6E89}"/>
          </ac:spMkLst>
        </pc:spChg>
        <pc:spChg chg="add del mod">
          <ac:chgData name="Pavel Anistratov" userId="f2672789-d0d7-41ee-88f6-6babeb037738" providerId="ADAL" clId="{A27D46DA-1688-7940-97FB-CF6167F239F2}" dt="2023-05-09T13:02:12.691" v="491"/>
          <ac:spMkLst>
            <pc:docMk/>
            <pc:sldMk cId="4135527103" sldId="651"/>
            <ac:spMk id="17" creationId="{BF0F1A74-796D-5FC4-22AF-B52548F10AA6}"/>
          </ac:spMkLst>
        </pc:spChg>
        <pc:spChg chg="add del mod">
          <ac:chgData name="Pavel Anistratov" userId="f2672789-d0d7-41ee-88f6-6babeb037738" providerId="ADAL" clId="{A27D46DA-1688-7940-97FB-CF6167F239F2}" dt="2023-05-09T14:39:16.600" v="1416"/>
          <ac:spMkLst>
            <pc:docMk/>
            <pc:sldMk cId="4135527103" sldId="651"/>
            <ac:spMk id="22" creationId="{EA3315E7-DA1F-9B69-F516-0D464882443F}"/>
          </ac:spMkLst>
        </pc:spChg>
        <pc:picChg chg="add del mod">
          <ac:chgData name="Pavel Anistratov" userId="f2672789-d0d7-41ee-88f6-6babeb037738" providerId="ADAL" clId="{A27D46DA-1688-7940-97FB-CF6167F239F2}" dt="2023-05-09T13:00:07.663" v="470" actId="478"/>
          <ac:picMkLst>
            <pc:docMk/>
            <pc:sldMk cId="4135527103" sldId="651"/>
            <ac:picMk id="6" creationId="{70597185-4BBC-7EFD-0FA9-3EE4A94BC4FA}"/>
          </ac:picMkLst>
        </pc:picChg>
        <pc:picChg chg="add del mod">
          <ac:chgData name="Pavel Anistratov" userId="f2672789-d0d7-41ee-88f6-6babeb037738" providerId="ADAL" clId="{A27D46DA-1688-7940-97FB-CF6167F239F2}" dt="2023-05-09T13:00:08.201" v="471" actId="478"/>
          <ac:picMkLst>
            <pc:docMk/>
            <pc:sldMk cId="4135527103" sldId="651"/>
            <ac:picMk id="7" creationId="{9585D29F-56C2-C50C-5B6F-641496D8F012}"/>
          </ac:picMkLst>
        </pc:picChg>
        <pc:picChg chg="add del mod">
          <ac:chgData name="Pavel Anistratov" userId="f2672789-d0d7-41ee-88f6-6babeb037738" providerId="ADAL" clId="{A27D46DA-1688-7940-97FB-CF6167F239F2}" dt="2023-05-09T13:00:51.448" v="489" actId="478"/>
          <ac:picMkLst>
            <pc:docMk/>
            <pc:sldMk cId="4135527103" sldId="651"/>
            <ac:picMk id="9" creationId="{76B95084-0333-8F34-B29B-82F887848FDF}"/>
          </ac:picMkLst>
        </pc:picChg>
        <pc:picChg chg="add del mod">
          <ac:chgData name="Pavel Anistratov" userId="f2672789-d0d7-41ee-88f6-6babeb037738" providerId="ADAL" clId="{A27D46DA-1688-7940-97FB-CF6167F239F2}" dt="2023-05-09T13:00:23.098" v="480" actId="478"/>
          <ac:picMkLst>
            <pc:docMk/>
            <pc:sldMk cId="4135527103" sldId="651"/>
            <ac:picMk id="11" creationId="{05DC5F3B-459C-A52E-F785-7EFF58D91533}"/>
          </ac:picMkLst>
        </pc:picChg>
        <pc:picChg chg="add del mod">
          <ac:chgData name="Pavel Anistratov" userId="f2672789-d0d7-41ee-88f6-6babeb037738" providerId="ADAL" clId="{A27D46DA-1688-7940-97FB-CF6167F239F2}" dt="2023-05-09T13:00:28.115" v="484" actId="478"/>
          <ac:picMkLst>
            <pc:docMk/>
            <pc:sldMk cId="4135527103" sldId="651"/>
            <ac:picMk id="13" creationId="{7CF3A430-1FB9-6B06-F5C6-6D46E36027EF}"/>
          </ac:picMkLst>
        </pc:picChg>
        <pc:picChg chg="add del mod">
          <ac:chgData name="Pavel Anistratov" userId="f2672789-d0d7-41ee-88f6-6babeb037738" providerId="ADAL" clId="{A27D46DA-1688-7940-97FB-CF6167F239F2}" dt="2023-05-09T13:00:53.563" v="490" actId="478"/>
          <ac:picMkLst>
            <pc:docMk/>
            <pc:sldMk cId="4135527103" sldId="651"/>
            <ac:picMk id="15" creationId="{F4D24B10-FB70-644C-FDCD-5C6C8F1954AA}"/>
          </ac:picMkLst>
        </pc:picChg>
        <pc:picChg chg="add del mod">
          <ac:chgData name="Pavel Anistratov" userId="f2672789-d0d7-41ee-88f6-6babeb037738" providerId="ADAL" clId="{A27D46DA-1688-7940-97FB-CF6167F239F2}" dt="2023-05-10T13:33:52.295" v="2191" actId="478"/>
          <ac:picMkLst>
            <pc:docMk/>
            <pc:sldMk cId="4135527103" sldId="651"/>
            <ac:picMk id="19" creationId="{5960D4A9-47D6-4F19-EFEC-08BBC0CF433A}"/>
          </ac:picMkLst>
        </pc:picChg>
        <pc:picChg chg="add mod">
          <ac:chgData name="Pavel Anistratov" userId="f2672789-d0d7-41ee-88f6-6babeb037738" providerId="ADAL" clId="{A27D46DA-1688-7940-97FB-CF6167F239F2}" dt="2023-05-10T13:34:05.493" v="2194" actId="1076"/>
          <ac:picMkLst>
            <pc:docMk/>
            <pc:sldMk cId="4135527103" sldId="651"/>
            <ac:picMk id="21" creationId="{4CE5CD01-48A7-635D-0895-E3EAFA91CD6E}"/>
          </ac:picMkLst>
        </pc:picChg>
        <pc:picChg chg="add mod">
          <ac:chgData name="Pavel Anistratov" userId="f2672789-d0d7-41ee-88f6-6babeb037738" providerId="ADAL" clId="{A27D46DA-1688-7940-97FB-CF6167F239F2}" dt="2023-05-10T13:34:09.867" v="2196" actId="1076"/>
          <ac:picMkLst>
            <pc:docMk/>
            <pc:sldMk cId="4135527103" sldId="651"/>
            <ac:picMk id="23" creationId="{36972029-1F5B-954D-7EB4-24F476CEF5A7}"/>
          </ac:picMkLst>
        </pc:picChg>
      </pc:sldChg>
      <pc:sldChg chg="addSp delSp modSp add mod ord">
        <pc:chgData name="Pavel Anistratov" userId="f2672789-d0d7-41ee-88f6-6babeb037738" providerId="ADAL" clId="{A27D46DA-1688-7940-97FB-CF6167F239F2}" dt="2023-05-09T14:29:43.803" v="1317" actId="20578"/>
        <pc:sldMkLst>
          <pc:docMk/>
          <pc:sldMk cId="3879161277" sldId="652"/>
        </pc:sldMkLst>
        <pc:spChg chg="mod">
          <ac:chgData name="Pavel Anistratov" userId="f2672789-d0d7-41ee-88f6-6babeb037738" providerId="ADAL" clId="{A27D46DA-1688-7940-97FB-CF6167F239F2}" dt="2023-05-09T14:27:31.417" v="1316" actId="20577"/>
          <ac:spMkLst>
            <pc:docMk/>
            <pc:sldMk cId="3879161277" sldId="652"/>
            <ac:spMk id="3" creationId="{A1C6FDA8-529F-DCE4-219F-93A918AA6897}"/>
          </ac:spMkLst>
        </pc:spChg>
        <pc:picChg chg="add mod">
          <ac:chgData name="Pavel Anistratov" userId="f2672789-d0d7-41ee-88f6-6babeb037738" providerId="ADAL" clId="{A27D46DA-1688-7940-97FB-CF6167F239F2}" dt="2023-05-09T13:07:36.225" v="576" actId="1076"/>
          <ac:picMkLst>
            <pc:docMk/>
            <pc:sldMk cId="3879161277" sldId="652"/>
            <ac:picMk id="6" creationId="{ED63CED4-416E-5CA2-19F1-A71A02BDA185}"/>
          </ac:picMkLst>
        </pc:picChg>
        <pc:picChg chg="del">
          <ac:chgData name="Pavel Anistratov" userId="f2672789-d0d7-41ee-88f6-6babeb037738" providerId="ADAL" clId="{A27D46DA-1688-7940-97FB-CF6167F239F2}" dt="2023-05-09T13:07:22.603" v="569" actId="478"/>
          <ac:picMkLst>
            <pc:docMk/>
            <pc:sldMk cId="3879161277" sldId="652"/>
            <ac:picMk id="7" creationId="{34EF04AF-F504-7514-64EA-0B37126B7A11}"/>
          </ac:picMkLst>
        </pc:picChg>
        <pc:picChg chg="add mod">
          <ac:chgData name="Pavel Anistratov" userId="f2672789-d0d7-41ee-88f6-6babeb037738" providerId="ADAL" clId="{A27D46DA-1688-7940-97FB-CF6167F239F2}" dt="2023-05-09T13:07:35.155" v="575" actId="1076"/>
          <ac:picMkLst>
            <pc:docMk/>
            <pc:sldMk cId="3879161277" sldId="652"/>
            <ac:picMk id="8" creationId="{45CFF177-BD90-E001-7A8E-97C71473C852}"/>
          </ac:picMkLst>
        </pc:picChg>
        <pc:picChg chg="del">
          <ac:chgData name="Pavel Anistratov" userId="f2672789-d0d7-41ee-88f6-6babeb037738" providerId="ADAL" clId="{A27D46DA-1688-7940-97FB-CF6167F239F2}" dt="2023-05-09T13:07:21.965" v="568" actId="478"/>
          <ac:picMkLst>
            <pc:docMk/>
            <pc:sldMk cId="3879161277" sldId="652"/>
            <ac:picMk id="10" creationId="{F6E40AD7-597A-FEC2-BF1C-681AB65676FB}"/>
          </ac:picMkLst>
        </pc:picChg>
      </pc:sldChg>
      <pc:sldChg chg="addSp delSp modSp add mod ord addAnim delAnim modAnim">
        <pc:chgData name="Pavel Anistratov" userId="f2672789-d0d7-41ee-88f6-6babeb037738" providerId="ADAL" clId="{A27D46DA-1688-7940-97FB-CF6167F239F2}" dt="2023-05-10T13:32:35.073" v="2149" actId="20578"/>
        <pc:sldMkLst>
          <pc:docMk/>
          <pc:sldMk cId="4151658508" sldId="653"/>
        </pc:sldMkLst>
        <pc:spChg chg="mod">
          <ac:chgData name="Pavel Anistratov" userId="f2672789-d0d7-41ee-88f6-6babeb037738" providerId="ADAL" clId="{A27D46DA-1688-7940-97FB-CF6167F239F2}" dt="2023-05-09T14:51:41.494" v="1857" actId="20577"/>
          <ac:spMkLst>
            <pc:docMk/>
            <pc:sldMk cId="4151658508" sldId="653"/>
            <ac:spMk id="2" creationId="{CD4AC729-D7E0-D599-7182-937CC5493F2B}"/>
          </ac:spMkLst>
        </pc:spChg>
        <pc:picChg chg="mod">
          <ac:chgData name="Pavel Anistratov" userId="f2672789-d0d7-41ee-88f6-6babeb037738" providerId="ADAL" clId="{A27D46DA-1688-7940-97FB-CF6167F239F2}" dt="2023-05-09T14:41:17.303" v="1440" actId="1076"/>
          <ac:picMkLst>
            <pc:docMk/>
            <pc:sldMk cId="4151658508" sldId="653"/>
            <ac:picMk id="7" creationId="{BC7537AA-6C00-2943-8E09-1F941FBF85F6}"/>
          </ac:picMkLst>
        </pc:picChg>
        <pc:picChg chg="mod">
          <ac:chgData name="Pavel Anistratov" userId="f2672789-d0d7-41ee-88f6-6babeb037738" providerId="ADAL" clId="{A27D46DA-1688-7940-97FB-CF6167F239F2}" dt="2023-05-09T14:41:26.013" v="1444" actId="1076"/>
          <ac:picMkLst>
            <pc:docMk/>
            <pc:sldMk cId="4151658508" sldId="653"/>
            <ac:picMk id="9" creationId="{BE26A8FA-072B-D004-BF70-285DC569FA0D}"/>
          </ac:picMkLst>
        </pc:picChg>
        <pc:picChg chg="add del mod">
          <ac:chgData name="Pavel Anistratov" userId="f2672789-d0d7-41ee-88f6-6babeb037738" providerId="ADAL" clId="{A27D46DA-1688-7940-97FB-CF6167F239F2}" dt="2023-05-09T14:42:27.110" v="1461" actId="1076"/>
          <ac:picMkLst>
            <pc:docMk/>
            <pc:sldMk cId="4151658508" sldId="653"/>
            <ac:picMk id="11" creationId="{93B16FC5-9BBA-A0D1-0AAC-1EABB8A2BFBE}"/>
          </ac:picMkLst>
        </pc:picChg>
      </pc:sldChg>
      <pc:sldChg chg="addSp modSp new mod modAnim">
        <pc:chgData name="Pavel Anistratov" userId="f2672789-d0d7-41ee-88f6-6babeb037738" providerId="ADAL" clId="{A27D46DA-1688-7940-97FB-CF6167F239F2}" dt="2023-05-09T14:31:24.751" v="1332"/>
        <pc:sldMkLst>
          <pc:docMk/>
          <pc:sldMk cId="4219243801" sldId="654"/>
        </pc:sldMkLst>
        <pc:spChg chg="mod">
          <ac:chgData name="Pavel Anistratov" userId="f2672789-d0d7-41ee-88f6-6babeb037738" providerId="ADAL" clId="{A27D46DA-1688-7940-97FB-CF6167F239F2}" dt="2023-05-08T14:32:09.732" v="422" actId="20577"/>
          <ac:spMkLst>
            <pc:docMk/>
            <pc:sldMk cId="4219243801" sldId="654"/>
            <ac:spMk id="2" creationId="{9AAE6819-5315-3A75-1626-80689A2B4DC1}"/>
          </ac:spMkLst>
        </pc:spChg>
        <pc:picChg chg="add mod">
          <ac:chgData name="Pavel Anistratov" userId="f2672789-d0d7-41ee-88f6-6babeb037738" providerId="ADAL" clId="{A27D46DA-1688-7940-97FB-CF6167F239F2}" dt="2023-05-09T14:31:18.626" v="1331" actId="1076"/>
          <ac:picMkLst>
            <pc:docMk/>
            <pc:sldMk cId="4219243801" sldId="654"/>
            <ac:picMk id="6" creationId="{2909AEFE-D86E-CCEC-383B-27DDCB3EBF55}"/>
          </ac:picMkLst>
        </pc:picChg>
        <pc:picChg chg="add mod modCrop">
          <ac:chgData name="Pavel Anistratov" userId="f2672789-d0d7-41ee-88f6-6babeb037738" providerId="ADAL" clId="{A27D46DA-1688-7940-97FB-CF6167F239F2}" dt="2023-05-09T14:31:12.238" v="1330" actId="1076"/>
          <ac:picMkLst>
            <pc:docMk/>
            <pc:sldMk cId="4219243801" sldId="654"/>
            <ac:picMk id="7" creationId="{25818D04-D393-D7B0-C39F-ED6CE77F4177}"/>
          </ac:picMkLst>
        </pc:picChg>
      </pc:sldChg>
      <pc:sldChg chg="addSp delSp modSp new mod modAnim">
        <pc:chgData name="Pavel Anistratov" userId="f2672789-d0d7-41ee-88f6-6babeb037738" providerId="ADAL" clId="{A27D46DA-1688-7940-97FB-CF6167F239F2}" dt="2023-05-10T13:32:12.305" v="2148"/>
        <pc:sldMkLst>
          <pc:docMk/>
          <pc:sldMk cId="184754778" sldId="655"/>
        </pc:sldMkLst>
        <pc:spChg chg="mod">
          <ac:chgData name="Pavel Anistratov" userId="f2672789-d0d7-41ee-88f6-6babeb037738" providerId="ADAL" clId="{A27D46DA-1688-7940-97FB-CF6167F239F2}" dt="2023-05-09T14:37:27.392" v="1400" actId="20577"/>
          <ac:spMkLst>
            <pc:docMk/>
            <pc:sldMk cId="184754778" sldId="655"/>
            <ac:spMk id="2" creationId="{F05469FF-FC1D-694E-119A-BE29CE16C793}"/>
          </ac:spMkLst>
        </pc:spChg>
        <pc:spChg chg="del">
          <ac:chgData name="Pavel Anistratov" userId="f2672789-d0d7-41ee-88f6-6babeb037738" providerId="ADAL" clId="{A27D46DA-1688-7940-97FB-CF6167F239F2}" dt="2023-05-08T14:33:09.604" v="425"/>
          <ac:spMkLst>
            <pc:docMk/>
            <pc:sldMk cId="184754778" sldId="655"/>
            <ac:spMk id="3" creationId="{C789B1C9-EC97-454A-E725-BEB920550A9C}"/>
          </ac:spMkLst>
        </pc:spChg>
        <pc:picChg chg="add mod">
          <ac:chgData name="Pavel Anistratov" userId="f2672789-d0d7-41ee-88f6-6babeb037738" providerId="ADAL" clId="{A27D46DA-1688-7940-97FB-CF6167F239F2}" dt="2023-05-10T13:31:45.571" v="2143" actId="1037"/>
          <ac:picMkLst>
            <pc:docMk/>
            <pc:sldMk cId="184754778" sldId="655"/>
            <ac:picMk id="3" creationId="{E0A318C2-A899-170A-391C-6ADCB9537D9C}"/>
          </ac:picMkLst>
        </pc:picChg>
        <pc:picChg chg="add mod">
          <ac:chgData name="Pavel Anistratov" userId="f2672789-d0d7-41ee-88f6-6babeb037738" providerId="ADAL" clId="{A27D46DA-1688-7940-97FB-CF6167F239F2}" dt="2023-05-09T14:37:58.696" v="1409" actId="14100"/>
          <ac:picMkLst>
            <pc:docMk/>
            <pc:sldMk cId="184754778" sldId="655"/>
            <ac:picMk id="7" creationId="{7427CE6D-F692-F452-D27B-F2EE69BF9E31}"/>
          </ac:picMkLst>
        </pc:picChg>
        <pc:picChg chg="add mod">
          <ac:chgData name="Pavel Anistratov" userId="f2672789-d0d7-41ee-88f6-6babeb037738" providerId="ADAL" clId="{A27D46DA-1688-7940-97FB-CF6167F239F2}" dt="2023-05-09T14:38:02.541" v="1410" actId="1076"/>
          <ac:picMkLst>
            <pc:docMk/>
            <pc:sldMk cId="184754778" sldId="655"/>
            <ac:picMk id="9" creationId="{B02C1395-DF59-90DE-CFD7-26CFBFF52169}"/>
          </ac:picMkLst>
        </pc:picChg>
        <pc:picChg chg="add del mod">
          <ac:chgData name="Pavel Anistratov" userId="f2672789-d0d7-41ee-88f6-6babeb037738" providerId="ADAL" clId="{A27D46DA-1688-7940-97FB-CF6167F239F2}" dt="2023-05-09T14:30:40.540" v="1323" actId="21"/>
          <ac:picMkLst>
            <pc:docMk/>
            <pc:sldMk cId="184754778" sldId="655"/>
            <ac:picMk id="11" creationId="{07709A40-C77C-2675-CBCF-6B7BFDE69C24}"/>
          </ac:picMkLst>
        </pc:picChg>
      </pc:sldChg>
      <pc:sldChg chg="addSp delSp modSp new del mod ord">
        <pc:chgData name="Pavel Anistratov" userId="f2672789-d0d7-41ee-88f6-6babeb037738" providerId="ADAL" clId="{A27D46DA-1688-7940-97FB-CF6167F239F2}" dt="2023-05-09T14:46:12.256" v="1659" actId="2696"/>
        <pc:sldMkLst>
          <pc:docMk/>
          <pc:sldMk cId="3404137462" sldId="656"/>
        </pc:sldMkLst>
        <pc:spChg chg="mod">
          <ac:chgData name="Pavel Anistratov" userId="f2672789-d0d7-41ee-88f6-6babeb037738" providerId="ADAL" clId="{A27D46DA-1688-7940-97FB-CF6167F239F2}" dt="2023-05-09T14:46:07.692" v="1657" actId="21"/>
          <ac:spMkLst>
            <pc:docMk/>
            <pc:sldMk cId="3404137462" sldId="656"/>
            <ac:spMk id="2" creationId="{FE278EC3-C9DD-E51B-B8C5-BABB6133DBD8}"/>
          </ac:spMkLst>
        </pc:spChg>
        <pc:spChg chg="mod">
          <ac:chgData name="Pavel Anistratov" userId="f2672789-d0d7-41ee-88f6-6babeb037738" providerId="ADAL" clId="{A27D46DA-1688-7940-97FB-CF6167F239F2}" dt="2023-05-09T14:45:51.080" v="1652" actId="20577"/>
          <ac:spMkLst>
            <pc:docMk/>
            <pc:sldMk cId="3404137462" sldId="656"/>
            <ac:spMk id="3" creationId="{DE6F43C6-3B9C-0F0B-91CE-9B89379A63D6}"/>
          </ac:spMkLst>
        </pc:spChg>
        <pc:picChg chg="add del mod">
          <ac:chgData name="Pavel Anistratov" userId="f2672789-d0d7-41ee-88f6-6babeb037738" providerId="ADAL" clId="{A27D46DA-1688-7940-97FB-CF6167F239F2}" dt="2023-05-09T13:50:42.281" v="706" actId="478"/>
          <ac:picMkLst>
            <pc:docMk/>
            <pc:sldMk cId="3404137462" sldId="656"/>
            <ac:picMk id="6" creationId="{57FFCB34-DD7D-BF41-CDE1-AF5523287BCF}"/>
          </ac:picMkLst>
        </pc:picChg>
        <pc:picChg chg="add del mod">
          <ac:chgData name="Pavel Anistratov" userId="f2672789-d0d7-41ee-88f6-6babeb037738" providerId="ADAL" clId="{A27D46DA-1688-7940-97FB-CF6167F239F2}" dt="2023-05-09T13:50:36.817" v="703" actId="478"/>
          <ac:picMkLst>
            <pc:docMk/>
            <pc:sldMk cId="3404137462" sldId="656"/>
            <ac:picMk id="7" creationId="{5F199014-FD75-49DE-3778-DFFBEE3343CF}"/>
          </ac:picMkLst>
        </pc:picChg>
      </pc:sldChg>
      <pc:sldChg chg="addSp delSp modSp new mod">
        <pc:chgData name="Pavel Anistratov" userId="f2672789-d0d7-41ee-88f6-6babeb037738" providerId="ADAL" clId="{A27D46DA-1688-7940-97FB-CF6167F239F2}" dt="2023-05-10T12:50:22.267" v="2114" actId="20577"/>
        <pc:sldMkLst>
          <pc:docMk/>
          <pc:sldMk cId="1277674911" sldId="657"/>
        </pc:sldMkLst>
        <pc:spChg chg="mod">
          <ac:chgData name="Pavel Anistratov" userId="f2672789-d0d7-41ee-88f6-6babeb037738" providerId="ADAL" clId="{A27D46DA-1688-7940-97FB-CF6167F239F2}" dt="2023-05-09T14:46:10.367" v="1658"/>
          <ac:spMkLst>
            <pc:docMk/>
            <pc:sldMk cId="1277674911" sldId="657"/>
            <ac:spMk id="2" creationId="{1F44BE76-4975-8EFC-B3F2-574573B4DCFA}"/>
          </ac:spMkLst>
        </pc:spChg>
        <pc:spChg chg="mod">
          <ac:chgData name="Pavel Anistratov" userId="f2672789-d0d7-41ee-88f6-6babeb037738" providerId="ADAL" clId="{A27D46DA-1688-7940-97FB-CF6167F239F2}" dt="2023-05-10T12:50:22.267" v="2114" actId="20577"/>
          <ac:spMkLst>
            <pc:docMk/>
            <pc:sldMk cId="1277674911" sldId="657"/>
            <ac:spMk id="3" creationId="{6B0A9EE5-B371-CEC9-7523-39DF42992CCC}"/>
          </ac:spMkLst>
        </pc:spChg>
        <pc:spChg chg="add del mod">
          <ac:chgData name="Pavel Anistratov" userId="f2672789-d0d7-41ee-88f6-6babeb037738" providerId="ADAL" clId="{A27D46DA-1688-7940-97FB-CF6167F239F2}" dt="2023-05-09T14:48:24.287" v="1747"/>
          <ac:spMkLst>
            <pc:docMk/>
            <pc:sldMk cId="1277674911" sldId="657"/>
            <ac:spMk id="7" creationId="{1CA76DCA-BC6A-9BD8-CB8F-6F92E661C509}"/>
          </ac:spMkLst>
        </pc:spChg>
        <pc:graphicFrameChg chg="add del mod">
          <ac:chgData name="Pavel Anistratov" userId="f2672789-d0d7-41ee-88f6-6babeb037738" providerId="ADAL" clId="{A27D46DA-1688-7940-97FB-CF6167F239F2}" dt="2023-05-09T14:48:24.287" v="1747"/>
          <ac:graphicFrameMkLst>
            <pc:docMk/>
            <pc:sldMk cId="1277674911" sldId="657"/>
            <ac:graphicFrameMk id="6" creationId="{A85F332C-FA96-CA31-7879-698882918AC3}"/>
          </ac:graphicFrameMkLst>
        </pc:graphicFrameChg>
        <pc:picChg chg="add mod">
          <ac:chgData name="Pavel Anistratov" userId="f2672789-d0d7-41ee-88f6-6babeb037738" providerId="ADAL" clId="{A27D46DA-1688-7940-97FB-CF6167F239F2}" dt="2023-05-09T14:51:00.330" v="1799" actId="1076"/>
          <ac:picMkLst>
            <pc:docMk/>
            <pc:sldMk cId="1277674911" sldId="657"/>
            <ac:picMk id="8" creationId="{7EAD65CA-827A-7509-9231-2FC0AB716327}"/>
          </ac:picMkLst>
        </pc:picChg>
        <pc:picChg chg="add mod">
          <ac:chgData name="Pavel Anistratov" userId="f2672789-d0d7-41ee-88f6-6babeb037738" providerId="ADAL" clId="{A27D46DA-1688-7940-97FB-CF6167F239F2}" dt="2023-05-09T14:50:58.228" v="1798" actId="1076"/>
          <ac:picMkLst>
            <pc:docMk/>
            <pc:sldMk cId="1277674911" sldId="657"/>
            <ac:picMk id="9" creationId="{1A3AB65E-434B-75C3-6E08-885FC323DC25}"/>
          </ac:picMkLst>
        </pc:picChg>
      </pc:sldChg>
    </pc:docChg>
  </pc:docChgLst>
  <pc:docChgLst>
    <pc:chgData name="Pavel Anistratov" userId="f2672789-d0d7-41ee-88f6-6babeb037738" providerId="ADAL" clId="{09B506C3-E04F-344A-95EC-FEF17F575DA2}"/>
    <pc:docChg chg="delSld">
      <pc:chgData name="Pavel Anistratov" userId="f2672789-d0d7-41ee-88f6-6babeb037738" providerId="ADAL" clId="{09B506C3-E04F-344A-95EC-FEF17F575DA2}" dt="2023-10-11T15:12:05.743" v="1" actId="2696"/>
      <pc:docMkLst>
        <pc:docMk/>
      </pc:docMkLst>
      <pc:sldChg chg="del">
        <pc:chgData name="Pavel Anistratov" userId="f2672789-d0d7-41ee-88f6-6babeb037738" providerId="ADAL" clId="{09B506C3-E04F-344A-95EC-FEF17F575DA2}" dt="2023-10-11T15:12:00.954" v="0" actId="2696"/>
        <pc:sldMkLst>
          <pc:docMk/>
          <pc:sldMk cId="50767451" sldId="635"/>
        </pc:sldMkLst>
      </pc:sldChg>
      <pc:sldChg chg="del">
        <pc:chgData name="Pavel Anistratov" userId="f2672789-d0d7-41ee-88f6-6babeb037738" providerId="ADAL" clId="{09B506C3-E04F-344A-95EC-FEF17F575DA2}" dt="2023-10-11T15:12:05.743" v="1" actId="2696"/>
        <pc:sldMkLst>
          <pc:docMk/>
          <pc:sldMk cId="2271753084" sldId="645"/>
        </pc:sldMkLst>
      </pc:sldChg>
      <pc:sldChg chg="del">
        <pc:chgData name="Pavel Anistratov" userId="f2672789-d0d7-41ee-88f6-6babeb037738" providerId="ADAL" clId="{09B506C3-E04F-344A-95EC-FEF17F575DA2}" dt="2023-10-11T15:12:00.954" v="0" actId="2696"/>
        <pc:sldMkLst>
          <pc:docMk/>
          <pc:sldMk cId="4151658508" sldId="653"/>
        </pc:sldMkLst>
      </pc:sldChg>
      <pc:sldChg chg="del">
        <pc:chgData name="Pavel Anistratov" userId="f2672789-d0d7-41ee-88f6-6babeb037738" providerId="ADAL" clId="{09B506C3-E04F-344A-95EC-FEF17F575DA2}" dt="2023-10-11T15:12:00.954" v="0" actId="2696"/>
        <pc:sldMkLst>
          <pc:docMk/>
          <pc:sldMk cId="4219243801" sldId="654"/>
        </pc:sldMkLst>
      </pc:sldChg>
      <pc:sldChg chg="del">
        <pc:chgData name="Pavel Anistratov" userId="f2672789-d0d7-41ee-88f6-6babeb037738" providerId="ADAL" clId="{09B506C3-E04F-344A-95EC-FEF17F575DA2}" dt="2023-10-11T15:12:00.954" v="0" actId="2696"/>
        <pc:sldMkLst>
          <pc:docMk/>
          <pc:sldMk cId="184754778" sldId="655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7D3319-E025-548F-FE6C-4992B3AB153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5BC111-2167-B5C7-83EC-0CD3C2CD1CA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E87F6C-50E4-1448-8962-605627D12A02}" type="datetimeFigureOut">
              <a:rPr lang="en-DE" smtClean="0"/>
              <a:t>10/11/23</a:t>
            </a:fld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85A072-2B70-1345-F746-6E9AB379794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4A2A7A-0DB1-327A-A0CB-3CDE3DF8A5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B38F99-2A6C-1744-9167-1D54F0A9E34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50733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7445B9-86CE-4B4D-A0D9-02742C4EB931}" type="datetimeFigureOut">
              <a:rPr lang="en-US" smtClean="0"/>
              <a:t>10/11/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230BAF-8A03-4C93-B41C-ABC5B556A5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0717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230BAF-8A03-4C93-B41C-ABC5B556A5A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21449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230BAF-8A03-4C93-B41C-ABC5B556A5A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3828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230BAF-8A03-4C93-B41C-ABC5B556A5A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8012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637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230BAF-8A03-4C93-B41C-ABC5B556A5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637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67307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microsoft.com/office/2007/relationships/hdphoto" Target="../media/hdphoto2.wdp"/><Relationship Id="rId7" Type="http://schemas.openxmlformats.org/officeDocument/2006/relationships/image" Target="../media/image1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21.jpeg"/><Relationship Id="rId4" Type="http://schemas.openxmlformats.org/officeDocument/2006/relationships/image" Target="../media/image20.jpeg"/><Relationship Id="rId9" Type="http://schemas.openxmlformats.org/officeDocument/2006/relationships/image" Target="../media/image15.sv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4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23.jpeg"/><Relationship Id="rId4" Type="http://schemas.openxmlformats.org/officeDocument/2006/relationships/image" Target="../media/image2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23.jpeg"/><Relationship Id="rId4" Type="http://schemas.openxmlformats.org/officeDocument/2006/relationships/image" Target="../media/image2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23.jpeg"/><Relationship Id="rId4" Type="http://schemas.openxmlformats.org/officeDocument/2006/relationships/image" Target="../media/image2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23.jpeg"/><Relationship Id="rId4" Type="http://schemas.openxmlformats.org/officeDocument/2006/relationships/image" Target="../media/image2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3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7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3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8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image" Target="../media/image23.jpeg"/><Relationship Id="rId4" Type="http://schemas.openxmlformats.org/officeDocument/2006/relationships/image" Target="../media/image2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25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microsoft.com/office/2007/relationships/hdphoto" Target="../media/hdphoto2.wdp"/><Relationship Id="rId7" Type="http://schemas.openxmlformats.org/officeDocument/2006/relationships/image" Target="../media/image28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21.jpeg"/><Relationship Id="rId4" Type="http://schemas.openxmlformats.org/officeDocument/2006/relationships/image" Target="../media/image20.jpeg"/><Relationship Id="rId9" Type="http://schemas.openxmlformats.org/officeDocument/2006/relationships/image" Target="../media/image29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ens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36958" y="1713677"/>
            <a:ext cx="11574656" cy="4798313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E321C5F5-46FC-6540-B2A7-DE4927D265DE}"/>
              </a:ext>
            </a:extLst>
          </p:cNvPr>
          <p:cNvSpPr/>
          <p:nvPr userDrawn="1"/>
        </p:nvSpPr>
        <p:spPr>
          <a:xfrm>
            <a:off x="9660" y="1713677"/>
            <a:ext cx="5920641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20000" y="3294000"/>
            <a:ext cx="7719807" cy="405560"/>
          </a:xfrm>
        </p:spPr>
        <p:txBody>
          <a:bodyPr anchor="t"/>
          <a:lstStyle>
            <a:lvl1pPr algn="l">
              <a:lnSpc>
                <a:spcPct val="110000"/>
              </a:lnSpc>
              <a:defRPr sz="2600" b="0" cap="none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0" y="4403834"/>
            <a:ext cx="5286407" cy="923816"/>
          </a:xfrm>
        </p:spPr>
        <p:txBody>
          <a:bodyPr>
            <a:normAutofit/>
          </a:bodyPr>
          <a:lstStyle>
            <a:lvl1pPr marL="0" indent="0" algn="l">
              <a:spcAft>
                <a:spcPts val="800"/>
              </a:spcAft>
              <a:buNone/>
              <a:defRPr sz="1800">
                <a:solidFill>
                  <a:schemeClr val="bg1"/>
                </a:solidFill>
              </a:defRPr>
            </a:lvl1pPr>
            <a:lvl2pPr marL="431992" indent="0" algn="ctr">
              <a:buNone/>
              <a:defRPr sz="1890"/>
            </a:lvl2pPr>
            <a:lvl3pPr marL="863985" indent="0" algn="ctr">
              <a:buNone/>
              <a:defRPr sz="1701"/>
            </a:lvl3pPr>
            <a:lvl4pPr marL="1295977" indent="0" algn="ctr">
              <a:buNone/>
              <a:defRPr sz="1512"/>
            </a:lvl4pPr>
            <a:lvl5pPr marL="1727969" indent="0" algn="ctr">
              <a:buNone/>
              <a:defRPr sz="1512"/>
            </a:lvl5pPr>
            <a:lvl6pPr marL="2159961" indent="0" algn="ctr">
              <a:buNone/>
              <a:defRPr sz="1512"/>
            </a:lvl6pPr>
            <a:lvl7pPr marL="2591954" indent="0" algn="ctr">
              <a:buNone/>
              <a:defRPr sz="1512"/>
            </a:lvl7pPr>
            <a:lvl8pPr marL="3023946" indent="0" algn="ctr">
              <a:buNone/>
              <a:defRPr sz="1512"/>
            </a:lvl8pPr>
            <a:lvl9pPr marL="3455939" indent="0" algn="ctr">
              <a:buNone/>
              <a:defRPr sz="1512"/>
            </a:lvl9pPr>
          </a:lstStyle>
          <a:p>
            <a:r>
              <a:rPr lang="de-DE" dirty="0"/>
              <a:t>Formatvorlage des Untertitelmasters durch Klicken bearbeiten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9526588" y="5538788"/>
            <a:ext cx="1666875" cy="557212"/>
          </a:xfr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dirty="0"/>
              <a:t>Partner Logo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0FB68CB-6E5E-3E86-E37A-99B48F640E14}"/>
              </a:ext>
            </a:extLst>
          </p:cNvPr>
          <p:cNvSpPr txBox="1"/>
          <p:nvPr userDrawn="1"/>
        </p:nvSpPr>
        <p:spPr>
          <a:xfrm rot="16200000">
            <a:off x="11037991" y="3231613"/>
            <a:ext cx="76335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7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© Volkswagen</a:t>
            </a:r>
            <a:endParaRPr lang="en-DE" sz="700" dirty="0">
              <a:solidFill>
                <a:schemeClr val="accent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CAB3706-1E71-C521-8023-D031D40FDBAF}"/>
              </a:ext>
            </a:extLst>
          </p:cNvPr>
          <p:cNvGrpSpPr/>
          <p:nvPr userDrawn="1"/>
        </p:nvGrpSpPr>
        <p:grpSpPr>
          <a:xfrm>
            <a:off x="1382865" y="1448235"/>
            <a:ext cx="10140798" cy="620884"/>
            <a:chOff x="1382865" y="1448235"/>
            <a:chExt cx="10140798" cy="620884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01ED600-E798-914F-8956-F57D3D6819BA}"/>
                </a:ext>
              </a:extLst>
            </p:cNvPr>
            <p:cNvSpPr/>
            <p:nvPr userDrawn="1"/>
          </p:nvSpPr>
          <p:spPr>
            <a:xfrm>
              <a:off x="4899246" y="1448235"/>
              <a:ext cx="432000" cy="9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FDEEFFE5-596F-3F41-A960-CFB4CAD8361A}"/>
                </a:ext>
              </a:extLst>
            </p:cNvPr>
            <p:cNvSpPr/>
            <p:nvPr userDrawn="1"/>
          </p:nvSpPr>
          <p:spPr>
            <a:xfrm>
              <a:off x="2527042" y="1959214"/>
              <a:ext cx="432000" cy="9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10C7099A-8B61-7743-A960-5C3B276506C1}"/>
                </a:ext>
              </a:extLst>
            </p:cNvPr>
            <p:cNvSpPr/>
            <p:nvPr userDrawn="1"/>
          </p:nvSpPr>
          <p:spPr>
            <a:xfrm>
              <a:off x="5574407" y="1567650"/>
              <a:ext cx="432000" cy="9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9F5014C-FE5B-A844-8C3F-4860A59A9CB7}"/>
                </a:ext>
              </a:extLst>
            </p:cNvPr>
            <p:cNvSpPr/>
            <p:nvPr userDrawn="1"/>
          </p:nvSpPr>
          <p:spPr>
            <a:xfrm>
              <a:off x="7703329" y="1979119"/>
              <a:ext cx="432000" cy="900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4E5AACB-5565-5F8D-04A9-9341CCDB1A65}"/>
                </a:ext>
              </a:extLst>
            </p:cNvPr>
            <p:cNvSpPr/>
            <p:nvPr userDrawn="1"/>
          </p:nvSpPr>
          <p:spPr>
            <a:xfrm>
              <a:off x="3186488" y="1713677"/>
              <a:ext cx="1290976" cy="180000"/>
            </a:xfrm>
            <a:custGeom>
              <a:avLst/>
              <a:gdLst>
                <a:gd name="connsiteX0" fmla="*/ 0 w 1290976"/>
                <a:gd name="connsiteY0" fmla="*/ 0 h 180000"/>
                <a:gd name="connsiteX1" fmla="*/ 1290976 w 1290976"/>
                <a:gd name="connsiteY1" fmla="*/ 0 h 180000"/>
                <a:gd name="connsiteX2" fmla="*/ 1290976 w 1290976"/>
                <a:gd name="connsiteY2" fmla="*/ 180000 h 180000"/>
                <a:gd name="connsiteX3" fmla="*/ 432000 w 1290976"/>
                <a:gd name="connsiteY3" fmla="*/ 180000 h 180000"/>
                <a:gd name="connsiteX4" fmla="*/ 432000 w 1290976"/>
                <a:gd name="connsiteY4" fmla="*/ 90000 h 180000"/>
                <a:gd name="connsiteX5" fmla="*/ 0 w 1290976"/>
                <a:gd name="connsiteY5" fmla="*/ 9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0976" h="180000">
                  <a:moveTo>
                    <a:pt x="0" y="0"/>
                  </a:moveTo>
                  <a:lnTo>
                    <a:pt x="1290976" y="0"/>
                  </a:lnTo>
                  <a:lnTo>
                    <a:pt x="1290976" y="180000"/>
                  </a:lnTo>
                  <a:lnTo>
                    <a:pt x="432000" y="180000"/>
                  </a:lnTo>
                  <a:lnTo>
                    <a:pt x="432000" y="90000"/>
                  </a:lnTo>
                  <a:lnTo>
                    <a:pt x="0" y="900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FE5DAF73-1478-7131-A481-7121829B3A80}"/>
                </a:ext>
              </a:extLst>
            </p:cNvPr>
            <p:cNvSpPr/>
            <p:nvPr userDrawn="1"/>
          </p:nvSpPr>
          <p:spPr>
            <a:xfrm>
              <a:off x="7055572" y="1713677"/>
              <a:ext cx="4468091" cy="180000"/>
            </a:xfrm>
            <a:custGeom>
              <a:avLst/>
              <a:gdLst>
                <a:gd name="connsiteX0" fmla="*/ 0 w 4468091"/>
                <a:gd name="connsiteY0" fmla="*/ 0 h 180000"/>
                <a:gd name="connsiteX1" fmla="*/ 4468091 w 4468091"/>
                <a:gd name="connsiteY1" fmla="*/ 0 h 180000"/>
                <a:gd name="connsiteX2" fmla="*/ 4468091 w 4468091"/>
                <a:gd name="connsiteY2" fmla="*/ 180000 h 180000"/>
                <a:gd name="connsiteX3" fmla="*/ 1877674 w 4468091"/>
                <a:gd name="connsiteY3" fmla="*/ 180000 h 180000"/>
                <a:gd name="connsiteX4" fmla="*/ 1575877 w 4468091"/>
                <a:gd name="connsiteY4" fmla="*/ 180000 h 180000"/>
                <a:gd name="connsiteX5" fmla="*/ 1445674 w 4468091"/>
                <a:gd name="connsiteY5" fmla="*/ 180000 h 180000"/>
                <a:gd name="connsiteX6" fmla="*/ 1445674 w 4468091"/>
                <a:gd name="connsiteY6" fmla="*/ 90000 h 180000"/>
                <a:gd name="connsiteX7" fmla="*/ 1013272 w 4468091"/>
                <a:gd name="connsiteY7" fmla="*/ 90000 h 180000"/>
                <a:gd name="connsiteX8" fmla="*/ 1013272 w 4468091"/>
                <a:gd name="connsiteY8" fmla="*/ 108124 h 180000"/>
                <a:gd name="connsiteX9" fmla="*/ 1012938 w 4468091"/>
                <a:gd name="connsiteY9" fmla="*/ 108124 h 180000"/>
                <a:gd name="connsiteX10" fmla="*/ 1012938 w 4468091"/>
                <a:gd name="connsiteY10" fmla="*/ 180000 h 180000"/>
                <a:gd name="connsiteX11" fmla="*/ 0 w 4468091"/>
                <a:gd name="connsiteY11" fmla="*/ 18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68091" h="180000">
                  <a:moveTo>
                    <a:pt x="0" y="0"/>
                  </a:moveTo>
                  <a:lnTo>
                    <a:pt x="4468091" y="0"/>
                  </a:lnTo>
                  <a:lnTo>
                    <a:pt x="4468091" y="180000"/>
                  </a:lnTo>
                  <a:lnTo>
                    <a:pt x="1877674" y="180000"/>
                  </a:lnTo>
                  <a:lnTo>
                    <a:pt x="1575877" y="180000"/>
                  </a:lnTo>
                  <a:lnTo>
                    <a:pt x="1445674" y="180000"/>
                  </a:lnTo>
                  <a:lnTo>
                    <a:pt x="1445674" y="90000"/>
                  </a:lnTo>
                  <a:lnTo>
                    <a:pt x="1013272" y="90000"/>
                  </a:lnTo>
                  <a:lnTo>
                    <a:pt x="1013272" y="108124"/>
                  </a:lnTo>
                  <a:lnTo>
                    <a:pt x="1012938" y="108124"/>
                  </a:lnTo>
                  <a:lnTo>
                    <a:pt x="1012938" y="180000"/>
                  </a:lnTo>
                  <a:lnTo>
                    <a:pt x="0" y="18000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 dirty="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DC9E42AA-98E4-2FB6-4A8B-4A4270C18D67}"/>
                </a:ext>
              </a:extLst>
            </p:cNvPr>
            <p:cNvSpPr/>
            <p:nvPr userDrawn="1"/>
          </p:nvSpPr>
          <p:spPr>
            <a:xfrm>
              <a:off x="4476286" y="1713677"/>
              <a:ext cx="1296000" cy="180000"/>
            </a:xfrm>
            <a:custGeom>
              <a:avLst/>
              <a:gdLst>
                <a:gd name="connsiteX0" fmla="*/ 0 w 1296000"/>
                <a:gd name="connsiteY0" fmla="*/ 0 h 180000"/>
                <a:gd name="connsiteX1" fmla="*/ 1296000 w 1296000"/>
                <a:gd name="connsiteY1" fmla="*/ 0 h 180000"/>
                <a:gd name="connsiteX2" fmla="*/ 1296000 w 1296000"/>
                <a:gd name="connsiteY2" fmla="*/ 180000 h 180000"/>
                <a:gd name="connsiteX3" fmla="*/ 1164285 w 1296000"/>
                <a:gd name="connsiteY3" fmla="*/ 180000 h 180000"/>
                <a:gd name="connsiteX4" fmla="*/ 1164285 w 1296000"/>
                <a:gd name="connsiteY4" fmla="*/ 90000 h 180000"/>
                <a:gd name="connsiteX5" fmla="*/ 732285 w 1296000"/>
                <a:gd name="connsiteY5" fmla="*/ 90000 h 180000"/>
                <a:gd name="connsiteX6" fmla="*/ 732285 w 1296000"/>
                <a:gd name="connsiteY6" fmla="*/ 180000 h 180000"/>
                <a:gd name="connsiteX7" fmla="*/ 0 w 1296000"/>
                <a:gd name="connsiteY7" fmla="*/ 180000 h 180000"/>
                <a:gd name="connsiteX8" fmla="*/ 0 w 1296000"/>
                <a:gd name="connsiteY8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6000" h="180000">
                  <a:moveTo>
                    <a:pt x="0" y="0"/>
                  </a:moveTo>
                  <a:lnTo>
                    <a:pt x="1296000" y="0"/>
                  </a:lnTo>
                  <a:lnTo>
                    <a:pt x="1296000" y="180000"/>
                  </a:lnTo>
                  <a:lnTo>
                    <a:pt x="1164285" y="180000"/>
                  </a:lnTo>
                  <a:lnTo>
                    <a:pt x="1164285" y="90000"/>
                  </a:lnTo>
                  <a:lnTo>
                    <a:pt x="732285" y="90000"/>
                  </a:lnTo>
                  <a:lnTo>
                    <a:pt x="732285" y="180000"/>
                  </a:lnTo>
                  <a:lnTo>
                    <a:pt x="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FE834C92-A339-EF4D-F314-5917EBF0FD2B}"/>
                </a:ext>
              </a:extLst>
            </p:cNvPr>
            <p:cNvSpPr/>
            <p:nvPr userDrawn="1"/>
          </p:nvSpPr>
          <p:spPr>
            <a:xfrm>
              <a:off x="5760665" y="1713677"/>
              <a:ext cx="1295328" cy="180000"/>
            </a:xfrm>
            <a:custGeom>
              <a:avLst/>
              <a:gdLst>
                <a:gd name="connsiteX0" fmla="*/ 0 w 1295328"/>
                <a:gd name="connsiteY0" fmla="*/ 0 h 180000"/>
                <a:gd name="connsiteX1" fmla="*/ 518350 w 1295328"/>
                <a:gd name="connsiteY1" fmla="*/ 0 h 180000"/>
                <a:gd name="connsiteX2" fmla="*/ 518350 w 1295328"/>
                <a:gd name="connsiteY2" fmla="*/ 90000 h 180000"/>
                <a:gd name="connsiteX3" fmla="*/ 950350 w 1295328"/>
                <a:gd name="connsiteY3" fmla="*/ 90000 h 180000"/>
                <a:gd name="connsiteX4" fmla="*/ 950350 w 1295328"/>
                <a:gd name="connsiteY4" fmla="*/ 0 h 180000"/>
                <a:gd name="connsiteX5" fmla="*/ 1295328 w 1295328"/>
                <a:gd name="connsiteY5" fmla="*/ 0 h 180000"/>
                <a:gd name="connsiteX6" fmla="*/ 1295328 w 1295328"/>
                <a:gd name="connsiteY6" fmla="*/ 180000 h 180000"/>
                <a:gd name="connsiteX7" fmla="*/ 0 w 1295328"/>
                <a:gd name="connsiteY7" fmla="*/ 180000 h 180000"/>
                <a:gd name="connsiteX8" fmla="*/ 0 w 1295328"/>
                <a:gd name="connsiteY8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5328" h="180000">
                  <a:moveTo>
                    <a:pt x="0" y="0"/>
                  </a:moveTo>
                  <a:lnTo>
                    <a:pt x="518350" y="0"/>
                  </a:lnTo>
                  <a:lnTo>
                    <a:pt x="518350" y="90000"/>
                  </a:lnTo>
                  <a:lnTo>
                    <a:pt x="950350" y="90000"/>
                  </a:lnTo>
                  <a:lnTo>
                    <a:pt x="950350" y="0"/>
                  </a:lnTo>
                  <a:lnTo>
                    <a:pt x="1295328" y="0"/>
                  </a:lnTo>
                  <a:lnTo>
                    <a:pt x="1295328" y="180000"/>
                  </a:lnTo>
                  <a:lnTo>
                    <a:pt x="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014E1DB-B0D0-66C1-0BA6-AC2D4806B632}"/>
                </a:ext>
              </a:extLst>
            </p:cNvPr>
            <p:cNvSpPr/>
            <p:nvPr userDrawn="1"/>
          </p:nvSpPr>
          <p:spPr>
            <a:xfrm>
              <a:off x="1663042" y="1805479"/>
              <a:ext cx="432000" cy="9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5753EE13-C3F3-98C1-8BC3-8F55195893FA}"/>
                </a:ext>
              </a:extLst>
            </p:cNvPr>
            <p:cNvSpPr/>
            <p:nvPr userDrawn="1"/>
          </p:nvSpPr>
          <p:spPr>
            <a:xfrm>
              <a:off x="1382865" y="1536778"/>
              <a:ext cx="432000" cy="9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</p:grpSp>
      <p:pic>
        <p:nvPicPr>
          <p:cNvPr id="20" name="Graphic 11">
            <a:extLst>
              <a:ext uri="{FF2B5EF4-FFF2-40B4-BE49-F238E27FC236}">
                <a16:creationId xmlns:a16="http://schemas.microsoft.com/office/drawing/2014/main" id="{977CA0B7-C0DD-A782-5E27-845B66635A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66085" y="439200"/>
            <a:ext cx="2526315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252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06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20000" y="1440000"/>
            <a:ext cx="4680000" cy="3888000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20000" y="1440000"/>
            <a:ext cx="4680000" cy="388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172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02" userDrawn="1">
          <p15:clr>
            <a:srgbClr val="FBAE40"/>
          </p15:clr>
        </p15:guide>
        <p15:guide id="2" pos="385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3280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B25C559-7C3A-7338-380C-4B797D8D87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87"/>
          <a:stretch/>
        </p:blipFill>
        <p:spPr>
          <a:xfrm>
            <a:off x="7339934" y="-1"/>
            <a:ext cx="4180554" cy="6480176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720000" y="435601"/>
            <a:ext cx="5609779" cy="2492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9" name="Inhaltsplatzhalter 2"/>
          <p:cNvSpPr>
            <a:spLocks noGrp="1"/>
          </p:cNvSpPr>
          <p:nvPr>
            <p:ph sz="half" idx="13"/>
          </p:nvPr>
        </p:nvSpPr>
        <p:spPr>
          <a:xfrm>
            <a:off x="719999" y="1440000"/>
            <a:ext cx="5609779" cy="3888000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8078906-7AC4-6F73-2306-8E9EDD213158}"/>
              </a:ext>
            </a:extLst>
          </p:cNvPr>
          <p:cNvGrpSpPr/>
          <p:nvPr userDrawn="1"/>
        </p:nvGrpSpPr>
        <p:grpSpPr>
          <a:xfrm>
            <a:off x="2523867" y="6102749"/>
            <a:ext cx="8996621" cy="406201"/>
            <a:chOff x="2527042" y="1513080"/>
            <a:chExt cx="8996621" cy="406201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6986605-E1E9-F526-5D2A-9EB3F911EAAB}"/>
                </a:ext>
              </a:extLst>
            </p:cNvPr>
            <p:cNvSpPr/>
            <p:nvPr userDrawn="1"/>
          </p:nvSpPr>
          <p:spPr>
            <a:xfrm>
              <a:off x="4899246" y="1588670"/>
              <a:ext cx="432000" cy="9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149F0AA-42AA-A432-2D2D-0F5D5FA1F2A5}"/>
                </a:ext>
              </a:extLst>
            </p:cNvPr>
            <p:cNvSpPr/>
            <p:nvPr userDrawn="1"/>
          </p:nvSpPr>
          <p:spPr>
            <a:xfrm>
              <a:off x="2527042" y="1829281"/>
              <a:ext cx="432000" cy="9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3F806E6-49F6-E45C-B286-6F65F8C7EB2C}"/>
                </a:ext>
              </a:extLst>
            </p:cNvPr>
            <p:cNvSpPr/>
            <p:nvPr userDrawn="1"/>
          </p:nvSpPr>
          <p:spPr>
            <a:xfrm>
              <a:off x="5976464" y="1513080"/>
              <a:ext cx="432000" cy="9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4C14A89F-F36F-E4F9-0662-582855A305E2}"/>
                </a:ext>
              </a:extLst>
            </p:cNvPr>
            <p:cNvSpPr/>
            <p:nvPr userDrawn="1"/>
          </p:nvSpPr>
          <p:spPr>
            <a:xfrm>
              <a:off x="7703329" y="1645720"/>
              <a:ext cx="432000" cy="9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403705-C9DA-4E23-E7A5-A90EA8883EE4}"/>
                </a:ext>
              </a:extLst>
            </p:cNvPr>
            <p:cNvSpPr/>
            <p:nvPr userDrawn="1"/>
          </p:nvSpPr>
          <p:spPr>
            <a:xfrm>
              <a:off x="3186488" y="1715479"/>
              <a:ext cx="1290976" cy="180000"/>
            </a:xfrm>
            <a:custGeom>
              <a:avLst/>
              <a:gdLst>
                <a:gd name="connsiteX0" fmla="*/ 0 w 1290976"/>
                <a:gd name="connsiteY0" fmla="*/ 0 h 180000"/>
                <a:gd name="connsiteX1" fmla="*/ 1290976 w 1290976"/>
                <a:gd name="connsiteY1" fmla="*/ 0 h 180000"/>
                <a:gd name="connsiteX2" fmla="*/ 1290976 w 1290976"/>
                <a:gd name="connsiteY2" fmla="*/ 180000 h 180000"/>
                <a:gd name="connsiteX3" fmla="*/ 432000 w 1290976"/>
                <a:gd name="connsiteY3" fmla="*/ 180000 h 180000"/>
                <a:gd name="connsiteX4" fmla="*/ 432000 w 1290976"/>
                <a:gd name="connsiteY4" fmla="*/ 90000 h 180000"/>
                <a:gd name="connsiteX5" fmla="*/ 0 w 1290976"/>
                <a:gd name="connsiteY5" fmla="*/ 9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0976" h="180000">
                  <a:moveTo>
                    <a:pt x="0" y="0"/>
                  </a:moveTo>
                  <a:lnTo>
                    <a:pt x="1290976" y="0"/>
                  </a:lnTo>
                  <a:lnTo>
                    <a:pt x="1290976" y="180000"/>
                  </a:lnTo>
                  <a:lnTo>
                    <a:pt x="432000" y="180000"/>
                  </a:lnTo>
                  <a:lnTo>
                    <a:pt x="432000" y="90000"/>
                  </a:lnTo>
                  <a:lnTo>
                    <a:pt x="0" y="900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81EFBCC3-A54E-870F-7A5D-4AFBF8B52803}"/>
                </a:ext>
              </a:extLst>
            </p:cNvPr>
            <p:cNvSpPr/>
            <p:nvPr userDrawn="1"/>
          </p:nvSpPr>
          <p:spPr>
            <a:xfrm>
              <a:off x="7055572" y="1713677"/>
              <a:ext cx="4468091" cy="180000"/>
            </a:xfrm>
            <a:custGeom>
              <a:avLst/>
              <a:gdLst>
                <a:gd name="connsiteX0" fmla="*/ 0 w 4468091"/>
                <a:gd name="connsiteY0" fmla="*/ 0 h 180000"/>
                <a:gd name="connsiteX1" fmla="*/ 4468091 w 4468091"/>
                <a:gd name="connsiteY1" fmla="*/ 0 h 180000"/>
                <a:gd name="connsiteX2" fmla="*/ 4468091 w 4468091"/>
                <a:gd name="connsiteY2" fmla="*/ 180000 h 180000"/>
                <a:gd name="connsiteX3" fmla="*/ 1877674 w 4468091"/>
                <a:gd name="connsiteY3" fmla="*/ 180000 h 180000"/>
                <a:gd name="connsiteX4" fmla="*/ 1575877 w 4468091"/>
                <a:gd name="connsiteY4" fmla="*/ 180000 h 180000"/>
                <a:gd name="connsiteX5" fmla="*/ 1445674 w 4468091"/>
                <a:gd name="connsiteY5" fmla="*/ 180000 h 180000"/>
                <a:gd name="connsiteX6" fmla="*/ 1445674 w 4468091"/>
                <a:gd name="connsiteY6" fmla="*/ 90000 h 180000"/>
                <a:gd name="connsiteX7" fmla="*/ 1013272 w 4468091"/>
                <a:gd name="connsiteY7" fmla="*/ 90000 h 180000"/>
                <a:gd name="connsiteX8" fmla="*/ 1013272 w 4468091"/>
                <a:gd name="connsiteY8" fmla="*/ 108124 h 180000"/>
                <a:gd name="connsiteX9" fmla="*/ 1012938 w 4468091"/>
                <a:gd name="connsiteY9" fmla="*/ 108124 h 180000"/>
                <a:gd name="connsiteX10" fmla="*/ 1012938 w 4468091"/>
                <a:gd name="connsiteY10" fmla="*/ 180000 h 180000"/>
                <a:gd name="connsiteX11" fmla="*/ 0 w 4468091"/>
                <a:gd name="connsiteY11" fmla="*/ 18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68091" h="180000">
                  <a:moveTo>
                    <a:pt x="0" y="0"/>
                  </a:moveTo>
                  <a:lnTo>
                    <a:pt x="4468091" y="0"/>
                  </a:lnTo>
                  <a:lnTo>
                    <a:pt x="4468091" y="180000"/>
                  </a:lnTo>
                  <a:lnTo>
                    <a:pt x="1877674" y="180000"/>
                  </a:lnTo>
                  <a:lnTo>
                    <a:pt x="1575877" y="180000"/>
                  </a:lnTo>
                  <a:lnTo>
                    <a:pt x="1445674" y="180000"/>
                  </a:lnTo>
                  <a:lnTo>
                    <a:pt x="1445674" y="90000"/>
                  </a:lnTo>
                  <a:lnTo>
                    <a:pt x="1013272" y="90000"/>
                  </a:lnTo>
                  <a:lnTo>
                    <a:pt x="1013272" y="108124"/>
                  </a:lnTo>
                  <a:lnTo>
                    <a:pt x="1012938" y="108124"/>
                  </a:lnTo>
                  <a:lnTo>
                    <a:pt x="1012938" y="180000"/>
                  </a:lnTo>
                  <a:lnTo>
                    <a:pt x="0" y="180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 dirty="0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A1030047-EA22-E6E5-4CA1-6AC115C45CB7}"/>
                </a:ext>
              </a:extLst>
            </p:cNvPr>
            <p:cNvSpPr/>
            <p:nvPr userDrawn="1"/>
          </p:nvSpPr>
          <p:spPr>
            <a:xfrm>
              <a:off x="4476286" y="1713677"/>
              <a:ext cx="1296000" cy="180000"/>
            </a:xfrm>
            <a:custGeom>
              <a:avLst/>
              <a:gdLst>
                <a:gd name="connsiteX0" fmla="*/ 0 w 1296000"/>
                <a:gd name="connsiteY0" fmla="*/ 0 h 180000"/>
                <a:gd name="connsiteX1" fmla="*/ 1296000 w 1296000"/>
                <a:gd name="connsiteY1" fmla="*/ 0 h 180000"/>
                <a:gd name="connsiteX2" fmla="*/ 1296000 w 1296000"/>
                <a:gd name="connsiteY2" fmla="*/ 180000 h 180000"/>
                <a:gd name="connsiteX3" fmla="*/ 1164285 w 1296000"/>
                <a:gd name="connsiteY3" fmla="*/ 180000 h 180000"/>
                <a:gd name="connsiteX4" fmla="*/ 1164285 w 1296000"/>
                <a:gd name="connsiteY4" fmla="*/ 90000 h 180000"/>
                <a:gd name="connsiteX5" fmla="*/ 732285 w 1296000"/>
                <a:gd name="connsiteY5" fmla="*/ 90000 h 180000"/>
                <a:gd name="connsiteX6" fmla="*/ 732285 w 1296000"/>
                <a:gd name="connsiteY6" fmla="*/ 180000 h 180000"/>
                <a:gd name="connsiteX7" fmla="*/ 0 w 1296000"/>
                <a:gd name="connsiteY7" fmla="*/ 180000 h 180000"/>
                <a:gd name="connsiteX8" fmla="*/ 0 w 1296000"/>
                <a:gd name="connsiteY8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6000" h="180000">
                  <a:moveTo>
                    <a:pt x="0" y="0"/>
                  </a:moveTo>
                  <a:lnTo>
                    <a:pt x="1296000" y="0"/>
                  </a:lnTo>
                  <a:lnTo>
                    <a:pt x="1296000" y="180000"/>
                  </a:lnTo>
                  <a:lnTo>
                    <a:pt x="1164285" y="180000"/>
                  </a:lnTo>
                  <a:lnTo>
                    <a:pt x="1164285" y="90000"/>
                  </a:lnTo>
                  <a:lnTo>
                    <a:pt x="732285" y="90000"/>
                  </a:lnTo>
                  <a:lnTo>
                    <a:pt x="732285" y="180000"/>
                  </a:lnTo>
                  <a:lnTo>
                    <a:pt x="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213CE879-0EE5-6258-201C-A584042E311B}"/>
                </a:ext>
              </a:extLst>
            </p:cNvPr>
            <p:cNvSpPr/>
            <p:nvPr userDrawn="1"/>
          </p:nvSpPr>
          <p:spPr>
            <a:xfrm>
              <a:off x="5760800" y="1713677"/>
              <a:ext cx="1295328" cy="180000"/>
            </a:xfrm>
            <a:custGeom>
              <a:avLst/>
              <a:gdLst>
                <a:gd name="connsiteX0" fmla="*/ 0 w 1295328"/>
                <a:gd name="connsiteY0" fmla="*/ 0 h 180000"/>
                <a:gd name="connsiteX1" fmla="*/ 518350 w 1295328"/>
                <a:gd name="connsiteY1" fmla="*/ 0 h 180000"/>
                <a:gd name="connsiteX2" fmla="*/ 518350 w 1295328"/>
                <a:gd name="connsiteY2" fmla="*/ 90000 h 180000"/>
                <a:gd name="connsiteX3" fmla="*/ 950350 w 1295328"/>
                <a:gd name="connsiteY3" fmla="*/ 90000 h 180000"/>
                <a:gd name="connsiteX4" fmla="*/ 950350 w 1295328"/>
                <a:gd name="connsiteY4" fmla="*/ 0 h 180000"/>
                <a:gd name="connsiteX5" fmla="*/ 1295328 w 1295328"/>
                <a:gd name="connsiteY5" fmla="*/ 0 h 180000"/>
                <a:gd name="connsiteX6" fmla="*/ 1295328 w 1295328"/>
                <a:gd name="connsiteY6" fmla="*/ 180000 h 180000"/>
                <a:gd name="connsiteX7" fmla="*/ 0 w 1295328"/>
                <a:gd name="connsiteY7" fmla="*/ 180000 h 180000"/>
                <a:gd name="connsiteX8" fmla="*/ 0 w 1295328"/>
                <a:gd name="connsiteY8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5328" h="180000">
                  <a:moveTo>
                    <a:pt x="0" y="0"/>
                  </a:moveTo>
                  <a:lnTo>
                    <a:pt x="518350" y="0"/>
                  </a:lnTo>
                  <a:lnTo>
                    <a:pt x="518350" y="90000"/>
                  </a:lnTo>
                  <a:lnTo>
                    <a:pt x="950350" y="90000"/>
                  </a:lnTo>
                  <a:lnTo>
                    <a:pt x="950350" y="0"/>
                  </a:lnTo>
                  <a:lnTo>
                    <a:pt x="1295328" y="0"/>
                  </a:lnTo>
                  <a:lnTo>
                    <a:pt x="1295328" y="180000"/>
                  </a:lnTo>
                  <a:lnTo>
                    <a:pt x="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06DA0814-78ED-1B68-695C-8B550DEFF591}"/>
              </a:ext>
            </a:extLst>
          </p:cNvPr>
          <p:cNvSpPr txBox="1"/>
          <p:nvPr userDrawn="1"/>
        </p:nvSpPr>
        <p:spPr>
          <a:xfrm rot="16200000">
            <a:off x="11143790" y="3231613"/>
            <a:ext cx="55175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700" b="0" i="0" kern="1200" dirty="0">
                <a:solidFill>
                  <a:schemeClr val="bg1">
                    <a:lumMod val="95000"/>
                  </a:schemeClr>
                </a:solidFill>
                <a:effectLst/>
                <a:latin typeface="+mn-lt"/>
                <a:ea typeface="+mn-ea"/>
                <a:cs typeface="+mn-cs"/>
              </a:rPr>
              <a:t>© Adobe</a:t>
            </a:r>
            <a:endParaRPr lang="en-DE" sz="700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210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9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Logo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3AA08208-981E-AC8E-C042-F7C37F6B9CF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337288" y="-1"/>
            <a:ext cx="4183200" cy="630334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720000" y="435601"/>
            <a:ext cx="5609779" cy="2492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9" name="Inhaltsplatzhalter 2"/>
          <p:cNvSpPr>
            <a:spLocks noGrp="1"/>
          </p:cNvSpPr>
          <p:nvPr>
            <p:ph sz="half" idx="13"/>
          </p:nvPr>
        </p:nvSpPr>
        <p:spPr>
          <a:xfrm>
            <a:off x="719999" y="1440000"/>
            <a:ext cx="5609779" cy="3888000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76E5E29-1E5C-8705-B48D-666D2112C6E9}"/>
              </a:ext>
            </a:extLst>
          </p:cNvPr>
          <p:cNvGrpSpPr/>
          <p:nvPr userDrawn="1"/>
        </p:nvGrpSpPr>
        <p:grpSpPr>
          <a:xfrm>
            <a:off x="2523867" y="6102749"/>
            <a:ext cx="8996621" cy="406201"/>
            <a:chOff x="2527042" y="1513080"/>
            <a:chExt cx="8996621" cy="406201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6387F43-D0DB-E59A-DC71-660FF93F933E}"/>
                </a:ext>
              </a:extLst>
            </p:cNvPr>
            <p:cNvSpPr/>
            <p:nvPr userDrawn="1"/>
          </p:nvSpPr>
          <p:spPr>
            <a:xfrm>
              <a:off x="4899246" y="1588670"/>
              <a:ext cx="432000" cy="9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9D12B91-13F0-34C7-CAC9-3054CDBD2774}"/>
                </a:ext>
              </a:extLst>
            </p:cNvPr>
            <p:cNvSpPr/>
            <p:nvPr userDrawn="1"/>
          </p:nvSpPr>
          <p:spPr>
            <a:xfrm>
              <a:off x="2527042" y="1829281"/>
              <a:ext cx="432000" cy="9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F3F5158B-282F-8ED2-F29E-3BF59E7ABC95}"/>
                </a:ext>
              </a:extLst>
            </p:cNvPr>
            <p:cNvSpPr/>
            <p:nvPr userDrawn="1"/>
          </p:nvSpPr>
          <p:spPr>
            <a:xfrm>
              <a:off x="5976464" y="1513080"/>
              <a:ext cx="432000" cy="9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F4F82C5-79FD-8861-813C-0E40FF21A681}"/>
                </a:ext>
              </a:extLst>
            </p:cNvPr>
            <p:cNvSpPr/>
            <p:nvPr userDrawn="1"/>
          </p:nvSpPr>
          <p:spPr>
            <a:xfrm>
              <a:off x="7703329" y="1645720"/>
              <a:ext cx="432000" cy="9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5D81D8DD-4B22-D544-D137-5D7C3148C8D5}"/>
                </a:ext>
              </a:extLst>
            </p:cNvPr>
            <p:cNvSpPr/>
            <p:nvPr userDrawn="1"/>
          </p:nvSpPr>
          <p:spPr>
            <a:xfrm>
              <a:off x="3186488" y="1715479"/>
              <a:ext cx="1290976" cy="180000"/>
            </a:xfrm>
            <a:custGeom>
              <a:avLst/>
              <a:gdLst>
                <a:gd name="connsiteX0" fmla="*/ 0 w 1290976"/>
                <a:gd name="connsiteY0" fmla="*/ 0 h 180000"/>
                <a:gd name="connsiteX1" fmla="*/ 1290976 w 1290976"/>
                <a:gd name="connsiteY1" fmla="*/ 0 h 180000"/>
                <a:gd name="connsiteX2" fmla="*/ 1290976 w 1290976"/>
                <a:gd name="connsiteY2" fmla="*/ 180000 h 180000"/>
                <a:gd name="connsiteX3" fmla="*/ 432000 w 1290976"/>
                <a:gd name="connsiteY3" fmla="*/ 180000 h 180000"/>
                <a:gd name="connsiteX4" fmla="*/ 432000 w 1290976"/>
                <a:gd name="connsiteY4" fmla="*/ 90000 h 180000"/>
                <a:gd name="connsiteX5" fmla="*/ 0 w 1290976"/>
                <a:gd name="connsiteY5" fmla="*/ 9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0976" h="180000">
                  <a:moveTo>
                    <a:pt x="0" y="0"/>
                  </a:moveTo>
                  <a:lnTo>
                    <a:pt x="1290976" y="0"/>
                  </a:lnTo>
                  <a:lnTo>
                    <a:pt x="1290976" y="180000"/>
                  </a:lnTo>
                  <a:lnTo>
                    <a:pt x="432000" y="180000"/>
                  </a:lnTo>
                  <a:lnTo>
                    <a:pt x="432000" y="90000"/>
                  </a:lnTo>
                  <a:lnTo>
                    <a:pt x="0" y="900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4F40A9B6-E2D0-A427-319C-E15AA47082A3}"/>
                </a:ext>
              </a:extLst>
            </p:cNvPr>
            <p:cNvSpPr/>
            <p:nvPr userDrawn="1"/>
          </p:nvSpPr>
          <p:spPr>
            <a:xfrm>
              <a:off x="7055572" y="1713677"/>
              <a:ext cx="4468091" cy="180000"/>
            </a:xfrm>
            <a:custGeom>
              <a:avLst/>
              <a:gdLst>
                <a:gd name="connsiteX0" fmla="*/ 0 w 4468091"/>
                <a:gd name="connsiteY0" fmla="*/ 0 h 180000"/>
                <a:gd name="connsiteX1" fmla="*/ 4468091 w 4468091"/>
                <a:gd name="connsiteY1" fmla="*/ 0 h 180000"/>
                <a:gd name="connsiteX2" fmla="*/ 4468091 w 4468091"/>
                <a:gd name="connsiteY2" fmla="*/ 180000 h 180000"/>
                <a:gd name="connsiteX3" fmla="*/ 1877674 w 4468091"/>
                <a:gd name="connsiteY3" fmla="*/ 180000 h 180000"/>
                <a:gd name="connsiteX4" fmla="*/ 1575877 w 4468091"/>
                <a:gd name="connsiteY4" fmla="*/ 180000 h 180000"/>
                <a:gd name="connsiteX5" fmla="*/ 1445674 w 4468091"/>
                <a:gd name="connsiteY5" fmla="*/ 180000 h 180000"/>
                <a:gd name="connsiteX6" fmla="*/ 1445674 w 4468091"/>
                <a:gd name="connsiteY6" fmla="*/ 90000 h 180000"/>
                <a:gd name="connsiteX7" fmla="*/ 1013272 w 4468091"/>
                <a:gd name="connsiteY7" fmla="*/ 90000 h 180000"/>
                <a:gd name="connsiteX8" fmla="*/ 1013272 w 4468091"/>
                <a:gd name="connsiteY8" fmla="*/ 108124 h 180000"/>
                <a:gd name="connsiteX9" fmla="*/ 1012938 w 4468091"/>
                <a:gd name="connsiteY9" fmla="*/ 108124 h 180000"/>
                <a:gd name="connsiteX10" fmla="*/ 1012938 w 4468091"/>
                <a:gd name="connsiteY10" fmla="*/ 180000 h 180000"/>
                <a:gd name="connsiteX11" fmla="*/ 0 w 4468091"/>
                <a:gd name="connsiteY11" fmla="*/ 18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68091" h="180000">
                  <a:moveTo>
                    <a:pt x="0" y="0"/>
                  </a:moveTo>
                  <a:lnTo>
                    <a:pt x="4468091" y="0"/>
                  </a:lnTo>
                  <a:lnTo>
                    <a:pt x="4468091" y="180000"/>
                  </a:lnTo>
                  <a:lnTo>
                    <a:pt x="1877674" y="180000"/>
                  </a:lnTo>
                  <a:lnTo>
                    <a:pt x="1575877" y="180000"/>
                  </a:lnTo>
                  <a:lnTo>
                    <a:pt x="1445674" y="180000"/>
                  </a:lnTo>
                  <a:lnTo>
                    <a:pt x="1445674" y="90000"/>
                  </a:lnTo>
                  <a:lnTo>
                    <a:pt x="1013272" y="90000"/>
                  </a:lnTo>
                  <a:lnTo>
                    <a:pt x="1013272" y="108124"/>
                  </a:lnTo>
                  <a:lnTo>
                    <a:pt x="1012938" y="108124"/>
                  </a:lnTo>
                  <a:lnTo>
                    <a:pt x="1012938" y="180000"/>
                  </a:lnTo>
                  <a:lnTo>
                    <a:pt x="0" y="180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 dirty="0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78097ABF-E5F0-6246-2AC4-302B677FCC2B}"/>
                </a:ext>
              </a:extLst>
            </p:cNvPr>
            <p:cNvSpPr/>
            <p:nvPr userDrawn="1"/>
          </p:nvSpPr>
          <p:spPr>
            <a:xfrm>
              <a:off x="4476286" y="1713677"/>
              <a:ext cx="1296000" cy="180000"/>
            </a:xfrm>
            <a:custGeom>
              <a:avLst/>
              <a:gdLst>
                <a:gd name="connsiteX0" fmla="*/ 0 w 1296000"/>
                <a:gd name="connsiteY0" fmla="*/ 0 h 180000"/>
                <a:gd name="connsiteX1" fmla="*/ 1296000 w 1296000"/>
                <a:gd name="connsiteY1" fmla="*/ 0 h 180000"/>
                <a:gd name="connsiteX2" fmla="*/ 1296000 w 1296000"/>
                <a:gd name="connsiteY2" fmla="*/ 180000 h 180000"/>
                <a:gd name="connsiteX3" fmla="*/ 1164285 w 1296000"/>
                <a:gd name="connsiteY3" fmla="*/ 180000 h 180000"/>
                <a:gd name="connsiteX4" fmla="*/ 1164285 w 1296000"/>
                <a:gd name="connsiteY4" fmla="*/ 90000 h 180000"/>
                <a:gd name="connsiteX5" fmla="*/ 732285 w 1296000"/>
                <a:gd name="connsiteY5" fmla="*/ 90000 h 180000"/>
                <a:gd name="connsiteX6" fmla="*/ 732285 w 1296000"/>
                <a:gd name="connsiteY6" fmla="*/ 180000 h 180000"/>
                <a:gd name="connsiteX7" fmla="*/ 0 w 1296000"/>
                <a:gd name="connsiteY7" fmla="*/ 180000 h 180000"/>
                <a:gd name="connsiteX8" fmla="*/ 0 w 1296000"/>
                <a:gd name="connsiteY8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6000" h="180000">
                  <a:moveTo>
                    <a:pt x="0" y="0"/>
                  </a:moveTo>
                  <a:lnTo>
                    <a:pt x="1296000" y="0"/>
                  </a:lnTo>
                  <a:lnTo>
                    <a:pt x="1296000" y="180000"/>
                  </a:lnTo>
                  <a:lnTo>
                    <a:pt x="1164285" y="180000"/>
                  </a:lnTo>
                  <a:lnTo>
                    <a:pt x="1164285" y="90000"/>
                  </a:lnTo>
                  <a:lnTo>
                    <a:pt x="732285" y="90000"/>
                  </a:lnTo>
                  <a:lnTo>
                    <a:pt x="732285" y="180000"/>
                  </a:lnTo>
                  <a:lnTo>
                    <a:pt x="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12E35053-F534-C206-EA8D-6E3A639C082D}"/>
                </a:ext>
              </a:extLst>
            </p:cNvPr>
            <p:cNvSpPr/>
            <p:nvPr userDrawn="1"/>
          </p:nvSpPr>
          <p:spPr>
            <a:xfrm>
              <a:off x="5760800" y="1713677"/>
              <a:ext cx="1295328" cy="180000"/>
            </a:xfrm>
            <a:custGeom>
              <a:avLst/>
              <a:gdLst>
                <a:gd name="connsiteX0" fmla="*/ 0 w 1295328"/>
                <a:gd name="connsiteY0" fmla="*/ 0 h 180000"/>
                <a:gd name="connsiteX1" fmla="*/ 518350 w 1295328"/>
                <a:gd name="connsiteY1" fmla="*/ 0 h 180000"/>
                <a:gd name="connsiteX2" fmla="*/ 518350 w 1295328"/>
                <a:gd name="connsiteY2" fmla="*/ 90000 h 180000"/>
                <a:gd name="connsiteX3" fmla="*/ 950350 w 1295328"/>
                <a:gd name="connsiteY3" fmla="*/ 90000 h 180000"/>
                <a:gd name="connsiteX4" fmla="*/ 950350 w 1295328"/>
                <a:gd name="connsiteY4" fmla="*/ 0 h 180000"/>
                <a:gd name="connsiteX5" fmla="*/ 1295328 w 1295328"/>
                <a:gd name="connsiteY5" fmla="*/ 0 h 180000"/>
                <a:gd name="connsiteX6" fmla="*/ 1295328 w 1295328"/>
                <a:gd name="connsiteY6" fmla="*/ 180000 h 180000"/>
                <a:gd name="connsiteX7" fmla="*/ 0 w 1295328"/>
                <a:gd name="connsiteY7" fmla="*/ 180000 h 180000"/>
                <a:gd name="connsiteX8" fmla="*/ 0 w 1295328"/>
                <a:gd name="connsiteY8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5328" h="180000">
                  <a:moveTo>
                    <a:pt x="0" y="0"/>
                  </a:moveTo>
                  <a:lnTo>
                    <a:pt x="518350" y="0"/>
                  </a:lnTo>
                  <a:lnTo>
                    <a:pt x="518350" y="90000"/>
                  </a:lnTo>
                  <a:lnTo>
                    <a:pt x="950350" y="90000"/>
                  </a:lnTo>
                  <a:lnTo>
                    <a:pt x="950350" y="0"/>
                  </a:lnTo>
                  <a:lnTo>
                    <a:pt x="1295328" y="0"/>
                  </a:lnTo>
                  <a:lnTo>
                    <a:pt x="1295328" y="180000"/>
                  </a:lnTo>
                  <a:lnTo>
                    <a:pt x="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</p:grpSp>
    </p:spTree>
    <p:extLst>
      <p:ext uri="{BB962C8B-B14F-4D97-AF65-F5344CB8AC3E}">
        <p14:creationId xmlns:p14="http://schemas.microsoft.com/office/powerpoint/2010/main" val="3774154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91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4"/>
          </p:nvPr>
        </p:nvSpPr>
        <p:spPr>
          <a:xfrm>
            <a:off x="7337288" y="-1"/>
            <a:ext cx="4183200" cy="630000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720000" y="435601"/>
            <a:ext cx="5609779" cy="2492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9" name="Inhaltsplatzhalter 2"/>
          <p:cNvSpPr>
            <a:spLocks noGrp="1"/>
          </p:cNvSpPr>
          <p:nvPr>
            <p:ph sz="half" idx="13"/>
          </p:nvPr>
        </p:nvSpPr>
        <p:spPr>
          <a:xfrm>
            <a:off x="719999" y="1440000"/>
            <a:ext cx="5609779" cy="3888000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290A076-E3AF-4BE5-7DD3-DB242AB86AD6}"/>
              </a:ext>
            </a:extLst>
          </p:cNvPr>
          <p:cNvGrpSpPr/>
          <p:nvPr userDrawn="1"/>
        </p:nvGrpSpPr>
        <p:grpSpPr>
          <a:xfrm>
            <a:off x="2523867" y="6102749"/>
            <a:ext cx="8996621" cy="406201"/>
            <a:chOff x="2527042" y="1513080"/>
            <a:chExt cx="8996621" cy="406201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CFBA872-86B6-6A58-68E8-1CACEA014BAC}"/>
                </a:ext>
              </a:extLst>
            </p:cNvPr>
            <p:cNvSpPr/>
            <p:nvPr userDrawn="1"/>
          </p:nvSpPr>
          <p:spPr>
            <a:xfrm>
              <a:off x="4899246" y="1588670"/>
              <a:ext cx="432000" cy="9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023E07C-F7E7-6AD2-E563-BF31FE3D4523}"/>
                </a:ext>
              </a:extLst>
            </p:cNvPr>
            <p:cNvSpPr/>
            <p:nvPr userDrawn="1"/>
          </p:nvSpPr>
          <p:spPr>
            <a:xfrm>
              <a:off x="2527042" y="1829281"/>
              <a:ext cx="432000" cy="9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0BC8E8E-3219-C888-762E-583B37B7A894}"/>
                </a:ext>
              </a:extLst>
            </p:cNvPr>
            <p:cNvSpPr/>
            <p:nvPr userDrawn="1"/>
          </p:nvSpPr>
          <p:spPr>
            <a:xfrm>
              <a:off x="5976464" y="1513080"/>
              <a:ext cx="432000" cy="9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2BE4C63-70BF-6FD9-D501-881AE820DA17}"/>
                </a:ext>
              </a:extLst>
            </p:cNvPr>
            <p:cNvSpPr/>
            <p:nvPr userDrawn="1"/>
          </p:nvSpPr>
          <p:spPr>
            <a:xfrm>
              <a:off x="7703329" y="1645720"/>
              <a:ext cx="432000" cy="9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A91AC46-C251-E668-D783-ADC6C1133ABA}"/>
                </a:ext>
              </a:extLst>
            </p:cNvPr>
            <p:cNvSpPr/>
            <p:nvPr userDrawn="1"/>
          </p:nvSpPr>
          <p:spPr>
            <a:xfrm>
              <a:off x="3186488" y="1715479"/>
              <a:ext cx="1290976" cy="180000"/>
            </a:xfrm>
            <a:custGeom>
              <a:avLst/>
              <a:gdLst>
                <a:gd name="connsiteX0" fmla="*/ 0 w 1290976"/>
                <a:gd name="connsiteY0" fmla="*/ 0 h 180000"/>
                <a:gd name="connsiteX1" fmla="*/ 1290976 w 1290976"/>
                <a:gd name="connsiteY1" fmla="*/ 0 h 180000"/>
                <a:gd name="connsiteX2" fmla="*/ 1290976 w 1290976"/>
                <a:gd name="connsiteY2" fmla="*/ 180000 h 180000"/>
                <a:gd name="connsiteX3" fmla="*/ 432000 w 1290976"/>
                <a:gd name="connsiteY3" fmla="*/ 180000 h 180000"/>
                <a:gd name="connsiteX4" fmla="*/ 432000 w 1290976"/>
                <a:gd name="connsiteY4" fmla="*/ 90000 h 180000"/>
                <a:gd name="connsiteX5" fmla="*/ 0 w 1290976"/>
                <a:gd name="connsiteY5" fmla="*/ 9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0976" h="180000">
                  <a:moveTo>
                    <a:pt x="0" y="0"/>
                  </a:moveTo>
                  <a:lnTo>
                    <a:pt x="1290976" y="0"/>
                  </a:lnTo>
                  <a:lnTo>
                    <a:pt x="1290976" y="180000"/>
                  </a:lnTo>
                  <a:lnTo>
                    <a:pt x="432000" y="180000"/>
                  </a:lnTo>
                  <a:lnTo>
                    <a:pt x="432000" y="90000"/>
                  </a:lnTo>
                  <a:lnTo>
                    <a:pt x="0" y="900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DFFD8BCE-5C08-A6DC-7372-A1DF1769BABA}"/>
                </a:ext>
              </a:extLst>
            </p:cNvPr>
            <p:cNvSpPr/>
            <p:nvPr userDrawn="1"/>
          </p:nvSpPr>
          <p:spPr>
            <a:xfrm>
              <a:off x="7055572" y="1713677"/>
              <a:ext cx="4468091" cy="180000"/>
            </a:xfrm>
            <a:custGeom>
              <a:avLst/>
              <a:gdLst>
                <a:gd name="connsiteX0" fmla="*/ 0 w 4468091"/>
                <a:gd name="connsiteY0" fmla="*/ 0 h 180000"/>
                <a:gd name="connsiteX1" fmla="*/ 4468091 w 4468091"/>
                <a:gd name="connsiteY1" fmla="*/ 0 h 180000"/>
                <a:gd name="connsiteX2" fmla="*/ 4468091 w 4468091"/>
                <a:gd name="connsiteY2" fmla="*/ 180000 h 180000"/>
                <a:gd name="connsiteX3" fmla="*/ 1877674 w 4468091"/>
                <a:gd name="connsiteY3" fmla="*/ 180000 h 180000"/>
                <a:gd name="connsiteX4" fmla="*/ 1575877 w 4468091"/>
                <a:gd name="connsiteY4" fmla="*/ 180000 h 180000"/>
                <a:gd name="connsiteX5" fmla="*/ 1445674 w 4468091"/>
                <a:gd name="connsiteY5" fmla="*/ 180000 h 180000"/>
                <a:gd name="connsiteX6" fmla="*/ 1445674 w 4468091"/>
                <a:gd name="connsiteY6" fmla="*/ 90000 h 180000"/>
                <a:gd name="connsiteX7" fmla="*/ 1013272 w 4468091"/>
                <a:gd name="connsiteY7" fmla="*/ 90000 h 180000"/>
                <a:gd name="connsiteX8" fmla="*/ 1013272 w 4468091"/>
                <a:gd name="connsiteY8" fmla="*/ 108124 h 180000"/>
                <a:gd name="connsiteX9" fmla="*/ 1012938 w 4468091"/>
                <a:gd name="connsiteY9" fmla="*/ 108124 h 180000"/>
                <a:gd name="connsiteX10" fmla="*/ 1012938 w 4468091"/>
                <a:gd name="connsiteY10" fmla="*/ 180000 h 180000"/>
                <a:gd name="connsiteX11" fmla="*/ 0 w 4468091"/>
                <a:gd name="connsiteY11" fmla="*/ 18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68091" h="180000">
                  <a:moveTo>
                    <a:pt x="0" y="0"/>
                  </a:moveTo>
                  <a:lnTo>
                    <a:pt x="4468091" y="0"/>
                  </a:lnTo>
                  <a:lnTo>
                    <a:pt x="4468091" y="180000"/>
                  </a:lnTo>
                  <a:lnTo>
                    <a:pt x="1877674" y="180000"/>
                  </a:lnTo>
                  <a:lnTo>
                    <a:pt x="1575877" y="180000"/>
                  </a:lnTo>
                  <a:lnTo>
                    <a:pt x="1445674" y="180000"/>
                  </a:lnTo>
                  <a:lnTo>
                    <a:pt x="1445674" y="90000"/>
                  </a:lnTo>
                  <a:lnTo>
                    <a:pt x="1013272" y="90000"/>
                  </a:lnTo>
                  <a:lnTo>
                    <a:pt x="1013272" y="108124"/>
                  </a:lnTo>
                  <a:lnTo>
                    <a:pt x="1012938" y="108124"/>
                  </a:lnTo>
                  <a:lnTo>
                    <a:pt x="1012938" y="180000"/>
                  </a:lnTo>
                  <a:lnTo>
                    <a:pt x="0" y="180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 dirty="0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A3470C5C-037F-E083-23D5-BAD27391095C}"/>
                </a:ext>
              </a:extLst>
            </p:cNvPr>
            <p:cNvSpPr/>
            <p:nvPr userDrawn="1"/>
          </p:nvSpPr>
          <p:spPr>
            <a:xfrm>
              <a:off x="4476286" y="1713677"/>
              <a:ext cx="1296000" cy="180000"/>
            </a:xfrm>
            <a:custGeom>
              <a:avLst/>
              <a:gdLst>
                <a:gd name="connsiteX0" fmla="*/ 0 w 1296000"/>
                <a:gd name="connsiteY0" fmla="*/ 0 h 180000"/>
                <a:gd name="connsiteX1" fmla="*/ 1296000 w 1296000"/>
                <a:gd name="connsiteY1" fmla="*/ 0 h 180000"/>
                <a:gd name="connsiteX2" fmla="*/ 1296000 w 1296000"/>
                <a:gd name="connsiteY2" fmla="*/ 180000 h 180000"/>
                <a:gd name="connsiteX3" fmla="*/ 1164285 w 1296000"/>
                <a:gd name="connsiteY3" fmla="*/ 180000 h 180000"/>
                <a:gd name="connsiteX4" fmla="*/ 1164285 w 1296000"/>
                <a:gd name="connsiteY4" fmla="*/ 90000 h 180000"/>
                <a:gd name="connsiteX5" fmla="*/ 732285 w 1296000"/>
                <a:gd name="connsiteY5" fmla="*/ 90000 h 180000"/>
                <a:gd name="connsiteX6" fmla="*/ 732285 w 1296000"/>
                <a:gd name="connsiteY6" fmla="*/ 180000 h 180000"/>
                <a:gd name="connsiteX7" fmla="*/ 0 w 1296000"/>
                <a:gd name="connsiteY7" fmla="*/ 180000 h 180000"/>
                <a:gd name="connsiteX8" fmla="*/ 0 w 1296000"/>
                <a:gd name="connsiteY8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6000" h="180000">
                  <a:moveTo>
                    <a:pt x="0" y="0"/>
                  </a:moveTo>
                  <a:lnTo>
                    <a:pt x="1296000" y="0"/>
                  </a:lnTo>
                  <a:lnTo>
                    <a:pt x="1296000" y="180000"/>
                  </a:lnTo>
                  <a:lnTo>
                    <a:pt x="1164285" y="180000"/>
                  </a:lnTo>
                  <a:lnTo>
                    <a:pt x="1164285" y="90000"/>
                  </a:lnTo>
                  <a:lnTo>
                    <a:pt x="732285" y="90000"/>
                  </a:lnTo>
                  <a:lnTo>
                    <a:pt x="732285" y="180000"/>
                  </a:lnTo>
                  <a:lnTo>
                    <a:pt x="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A1A16A4F-2376-FA00-F163-01020FFE6870}"/>
                </a:ext>
              </a:extLst>
            </p:cNvPr>
            <p:cNvSpPr/>
            <p:nvPr userDrawn="1"/>
          </p:nvSpPr>
          <p:spPr>
            <a:xfrm>
              <a:off x="5760800" y="1713677"/>
              <a:ext cx="1295328" cy="180000"/>
            </a:xfrm>
            <a:custGeom>
              <a:avLst/>
              <a:gdLst>
                <a:gd name="connsiteX0" fmla="*/ 0 w 1295328"/>
                <a:gd name="connsiteY0" fmla="*/ 0 h 180000"/>
                <a:gd name="connsiteX1" fmla="*/ 518350 w 1295328"/>
                <a:gd name="connsiteY1" fmla="*/ 0 h 180000"/>
                <a:gd name="connsiteX2" fmla="*/ 518350 w 1295328"/>
                <a:gd name="connsiteY2" fmla="*/ 90000 h 180000"/>
                <a:gd name="connsiteX3" fmla="*/ 950350 w 1295328"/>
                <a:gd name="connsiteY3" fmla="*/ 90000 h 180000"/>
                <a:gd name="connsiteX4" fmla="*/ 950350 w 1295328"/>
                <a:gd name="connsiteY4" fmla="*/ 0 h 180000"/>
                <a:gd name="connsiteX5" fmla="*/ 1295328 w 1295328"/>
                <a:gd name="connsiteY5" fmla="*/ 0 h 180000"/>
                <a:gd name="connsiteX6" fmla="*/ 1295328 w 1295328"/>
                <a:gd name="connsiteY6" fmla="*/ 180000 h 180000"/>
                <a:gd name="connsiteX7" fmla="*/ 0 w 1295328"/>
                <a:gd name="connsiteY7" fmla="*/ 180000 h 180000"/>
                <a:gd name="connsiteX8" fmla="*/ 0 w 1295328"/>
                <a:gd name="connsiteY8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5328" h="180000">
                  <a:moveTo>
                    <a:pt x="0" y="0"/>
                  </a:moveTo>
                  <a:lnTo>
                    <a:pt x="518350" y="0"/>
                  </a:lnTo>
                  <a:lnTo>
                    <a:pt x="518350" y="90000"/>
                  </a:lnTo>
                  <a:lnTo>
                    <a:pt x="950350" y="90000"/>
                  </a:lnTo>
                  <a:lnTo>
                    <a:pt x="950350" y="0"/>
                  </a:lnTo>
                  <a:lnTo>
                    <a:pt x="1295328" y="0"/>
                  </a:lnTo>
                  <a:lnTo>
                    <a:pt x="1295328" y="180000"/>
                  </a:lnTo>
                  <a:lnTo>
                    <a:pt x="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</p:grpSp>
    </p:spTree>
    <p:extLst>
      <p:ext uri="{BB962C8B-B14F-4D97-AF65-F5344CB8AC3E}">
        <p14:creationId xmlns:p14="http://schemas.microsoft.com/office/powerpoint/2010/main" val="2760844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91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63B26D5E-F4E0-54FB-B5C7-DBF5FDDED233}"/>
              </a:ext>
            </a:extLst>
          </p:cNvPr>
          <p:cNvSpPr/>
          <p:nvPr userDrawn="1"/>
        </p:nvSpPr>
        <p:spPr>
          <a:xfrm>
            <a:off x="7127875" y="2761448"/>
            <a:ext cx="4392613" cy="374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B886FF14-0172-F3FA-A682-85518217C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27875" y="-3186"/>
            <a:ext cx="4392613" cy="2854874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C72CFAB0-B7B6-6EB7-7D19-58A4FD0E044E}"/>
              </a:ext>
            </a:extLst>
          </p:cNvPr>
          <p:cNvSpPr/>
          <p:nvPr userDrawn="1"/>
        </p:nvSpPr>
        <p:spPr>
          <a:xfrm>
            <a:off x="-6350" y="2761448"/>
            <a:ext cx="7134485" cy="374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803A900C-2476-598F-1B2D-DDB79A1F0D2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50" y="-2973"/>
            <a:ext cx="7134485" cy="2771787"/>
          </a:xfrm>
          <a:prstGeom prst="rect">
            <a:avLst/>
          </a:prstGeom>
        </p:spPr>
      </p:pic>
      <p:sp>
        <p:nvSpPr>
          <p:cNvPr id="49" name="Rechteck 4">
            <a:extLst>
              <a:ext uri="{FF2B5EF4-FFF2-40B4-BE49-F238E27FC236}">
                <a16:creationId xmlns:a16="http://schemas.microsoft.com/office/drawing/2014/main" id="{C2801776-3CA7-A533-DB8A-15417699E704}"/>
              </a:ext>
            </a:extLst>
          </p:cNvPr>
          <p:cNvSpPr/>
          <p:nvPr userDrawn="1"/>
        </p:nvSpPr>
        <p:spPr>
          <a:xfrm>
            <a:off x="720000" y="3240000"/>
            <a:ext cx="4363246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THANK YOU FOR</a:t>
            </a:r>
          </a:p>
          <a:p>
            <a:r>
              <a:rPr lang="en-US" sz="2800" dirty="0">
                <a:solidFill>
                  <a:schemeClr val="bg1"/>
                </a:solidFill>
              </a:rPr>
              <a:t>YOUR KIND ATTENTION.</a:t>
            </a:r>
          </a:p>
        </p:txBody>
      </p:sp>
      <p:sp>
        <p:nvSpPr>
          <p:cNvPr id="50" name="Textplatzhalter 18">
            <a:extLst>
              <a:ext uri="{FF2B5EF4-FFF2-40B4-BE49-F238E27FC236}">
                <a16:creationId xmlns:a16="http://schemas.microsoft.com/office/drawing/2014/main" id="{CEAA49EE-BC7B-856E-AE97-73B87EC6DF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4570416"/>
            <a:ext cx="2700000" cy="97313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80000" indent="0">
              <a:buNone/>
              <a:defRPr>
                <a:solidFill>
                  <a:schemeClr val="bg1"/>
                </a:solidFill>
              </a:defRPr>
            </a:lvl2pPr>
            <a:lvl3pPr marL="360000" indent="0">
              <a:buNone/>
              <a:defRPr>
                <a:solidFill>
                  <a:schemeClr val="bg1"/>
                </a:solidFill>
              </a:defRPr>
            </a:lvl3pPr>
            <a:lvl4pPr marL="540000" indent="0">
              <a:buNone/>
              <a:defRPr>
                <a:solidFill>
                  <a:schemeClr val="bg1"/>
                </a:solidFill>
              </a:defRPr>
            </a:lvl4pPr>
            <a:lvl5pPr marL="720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  <a:endParaRPr lang="en-US" dirty="0"/>
          </a:p>
        </p:txBody>
      </p:sp>
      <p:sp>
        <p:nvSpPr>
          <p:cNvPr id="51" name="Textplatzhalter 18">
            <a:extLst>
              <a:ext uri="{FF2B5EF4-FFF2-40B4-BE49-F238E27FC236}">
                <a16:creationId xmlns:a16="http://schemas.microsoft.com/office/drawing/2014/main" id="{3384B6FB-1C97-0757-60A4-C16CB71A67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88581" y="4565472"/>
            <a:ext cx="2700000" cy="97313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80000" indent="0">
              <a:buNone/>
              <a:defRPr>
                <a:solidFill>
                  <a:schemeClr val="bg1"/>
                </a:solidFill>
              </a:defRPr>
            </a:lvl2pPr>
            <a:lvl3pPr marL="360000" indent="0">
              <a:buNone/>
              <a:defRPr>
                <a:solidFill>
                  <a:schemeClr val="bg1"/>
                </a:solidFill>
              </a:defRPr>
            </a:lvl3pPr>
            <a:lvl4pPr marL="540000" indent="0">
              <a:buNone/>
              <a:defRPr>
                <a:solidFill>
                  <a:schemeClr val="bg1"/>
                </a:solidFill>
              </a:defRPr>
            </a:lvl4pPr>
            <a:lvl5pPr marL="720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52" name="Textfeld 26">
            <a:extLst>
              <a:ext uri="{FF2B5EF4-FFF2-40B4-BE49-F238E27FC236}">
                <a16:creationId xmlns:a16="http://schemas.microsoft.com/office/drawing/2014/main" id="{68366F51-826E-3241-BB2E-17A1B971A654}"/>
              </a:ext>
            </a:extLst>
          </p:cNvPr>
          <p:cNvSpPr txBox="1"/>
          <p:nvPr userDrawn="1"/>
        </p:nvSpPr>
        <p:spPr>
          <a:xfrm>
            <a:off x="792000" y="5928493"/>
            <a:ext cx="5177794" cy="20005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762000"/>
            <a:r>
              <a:rPr lang="en-US" sz="1300" b="0" i="0" u="none" strike="noStrike" kern="1200" baseline="0" dirty="0">
                <a:solidFill>
                  <a:schemeClr val="accent1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rPr>
              <a:t>www.</a:t>
            </a:r>
            <a:r>
              <a:rPr lang="en-US" sz="13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i-Drive.eu   </a:t>
            </a:r>
            <a:r>
              <a:rPr lang="en-US" sz="1300" b="0" i="0" u="none" strike="noStrike" kern="1200" baseline="0" dirty="0">
                <a:solidFill>
                  <a:schemeClr val="accent1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rPr>
              <a:t>Twitter</a:t>
            </a:r>
            <a:r>
              <a:rPr lang="en-US" sz="13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@_</a:t>
            </a:r>
            <a:r>
              <a:rPr lang="en-US" sz="13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HiDrive</a:t>
            </a:r>
            <a:r>
              <a:rPr lang="en-US" sz="13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_    </a:t>
            </a:r>
            <a:r>
              <a:rPr lang="en-US" sz="1300" b="0" i="0" u="none" strike="noStrike" kern="1200" baseline="0" dirty="0" err="1">
                <a:solidFill>
                  <a:schemeClr val="accent1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rPr>
              <a:t>LinkedIn</a:t>
            </a:r>
            <a:r>
              <a:rPr lang="en-US" sz="13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Hi</a:t>
            </a:r>
            <a:r>
              <a:rPr lang="en-US" sz="13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-Drive </a:t>
            </a:r>
            <a:endParaRPr lang="en-US" sz="1300" dirty="0">
              <a:solidFill>
                <a:schemeClr val="bg1"/>
              </a:solidFill>
            </a:endParaRPr>
          </a:p>
        </p:txBody>
      </p:sp>
      <p:sp>
        <p:nvSpPr>
          <p:cNvPr id="53" name="Rechteck 28">
            <a:extLst>
              <a:ext uri="{FF2B5EF4-FFF2-40B4-BE49-F238E27FC236}">
                <a16:creationId xmlns:a16="http://schemas.microsoft.com/office/drawing/2014/main" id="{1C03C2EB-0E6D-6F7A-2034-D63F687F838C}"/>
              </a:ext>
            </a:extLst>
          </p:cNvPr>
          <p:cNvSpPr/>
          <p:nvPr userDrawn="1"/>
        </p:nvSpPr>
        <p:spPr>
          <a:xfrm>
            <a:off x="7696200" y="5661782"/>
            <a:ext cx="2720550" cy="4451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9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his project has received funding from the European Union’s Horizon 2020 research and innovation </a:t>
            </a:r>
            <a:r>
              <a:rPr lang="en-US" sz="90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programme</a:t>
            </a:r>
            <a:r>
              <a:rPr lang="en-US" sz="9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under grant agreement No 101006664.</a:t>
            </a:r>
          </a:p>
        </p:txBody>
      </p:sp>
      <p:sp>
        <p:nvSpPr>
          <p:cNvPr id="54" name="Rechteck 23">
            <a:extLst>
              <a:ext uri="{FF2B5EF4-FFF2-40B4-BE49-F238E27FC236}">
                <a16:creationId xmlns:a16="http://schemas.microsoft.com/office/drawing/2014/main" id="{A68BE040-3636-539E-C953-A79945C8296C}"/>
              </a:ext>
            </a:extLst>
          </p:cNvPr>
          <p:cNvSpPr/>
          <p:nvPr userDrawn="1"/>
        </p:nvSpPr>
        <p:spPr>
          <a:xfrm>
            <a:off x="10522744" y="5647392"/>
            <a:ext cx="621506" cy="4319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5" name="Inhaltsplatzhalter 4">
            <a:extLst>
              <a:ext uri="{FF2B5EF4-FFF2-40B4-BE49-F238E27FC236}">
                <a16:creationId xmlns:a16="http://schemas.microsoft.com/office/drawing/2014/main" id="{E19ADC73-5992-18FE-F6EC-4E5D2B499A0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1584" y="5676212"/>
            <a:ext cx="561109" cy="374073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C306B928-B957-FDDB-5558-57E7986DA86B}"/>
              </a:ext>
            </a:extLst>
          </p:cNvPr>
          <p:cNvSpPr txBox="1"/>
          <p:nvPr userDrawn="1"/>
        </p:nvSpPr>
        <p:spPr>
          <a:xfrm rot="16200000">
            <a:off x="11095692" y="224730"/>
            <a:ext cx="64953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700" b="0" i="0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Unsplash</a:t>
            </a:r>
            <a:endParaRPr lang="en-DE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F821481-2245-F6F0-618A-2AD285038480}"/>
              </a:ext>
            </a:extLst>
          </p:cNvPr>
          <p:cNvSpPr txBox="1"/>
          <p:nvPr userDrawn="1"/>
        </p:nvSpPr>
        <p:spPr>
          <a:xfrm rot="16200000">
            <a:off x="6709689" y="224729"/>
            <a:ext cx="64953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700" b="0" i="0" kern="1200" dirty="0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© Unsplash</a:t>
            </a:r>
            <a:endParaRPr lang="en-DE" sz="700" dirty="0">
              <a:solidFill>
                <a:schemeClr val="accent6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58" name="Graphic 57">
            <a:extLst>
              <a:ext uri="{FF2B5EF4-FFF2-40B4-BE49-F238E27FC236}">
                <a16:creationId xmlns:a16="http://schemas.microsoft.com/office/drawing/2014/main" id="{9F273157-6C9D-7ED3-BCD3-A3488E2D6F0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313000" y="656323"/>
            <a:ext cx="4207488" cy="4991069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064CFB86-CF6B-251F-9C46-1220A020ED69}"/>
              </a:ext>
            </a:extLst>
          </p:cNvPr>
          <p:cNvGrpSpPr/>
          <p:nvPr userDrawn="1"/>
        </p:nvGrpSpPr>
        <p:grpSpPr>
          <a:xfrm>
            <a:off x="1379690" y="2494444"/>
            <a:ext cx="10140798" cy="620884"/>
            <a:chOff x="1379690" y="2497619"/>
            <a:chExt cx="10140798" cy="620884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49A68335-A87D-7C20-54D3-5ADC67F2E654}"/>
                </a:ext>
              </a:extLst>
            </p:cNvPr>
            <p:cNvSpPr/>
            <p:nvPr userDrawn="1"/>
          </p:nvSpPr>
          <p:spPr>
            <a:xfrm>
              <a:off x="4896071" y="2497619"/>
              <a:ext cx="432000" cy="9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2E6AFDF3-F5F4-E2EB-1B7B-54FAD334B5C4}"/>
                </a:ext>
              </a:extLst>
            </p:cNvPr>
            <p:cNvSpPr/>
            <p:nvPr userDrawn="1"/>
          </p:nvSpPr>
          <p:spPr>
            <a:xfrm>
              <a:off x="2523867" y="3008598"/>
              <a:ext cx="432000" cy="9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0A42F6D6-3F26-7106-F2E2-B1E6B674DC98}"/>
                </a:ext>
              </a:extLst>
            </p:cNvPr>
            <p:cNvSpPr/>
            <p:nvPr userDrawn="1"/>
          </p:nvSpPr>
          <p:spPr>
            <a:xfrm>
              <a:off x="5571232" y="2617034"/>
              <a:ext cx="432000" cy="9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ADCE8791-B693-5DD7-E3C5-A0F94B972863}"/>
                </a:ext>
              </a:extLst>
            </p:cNvPr>
            <p:cNvSpPr/>
            <p:nvPr userDrawn="1"/>
          </p:nvSpPr>
          <p:spPr>
            <a:xfrm>
              <a:off x="7700154" y="3028503"/>
              <a:ext cx="432000" cy="900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B4DBDAD8-4DC7-91ED-29D5-88DB40EAC499}"/>
                </a:ext>
              </a:extLst>
            </p:cNvPr>
            <p:cNvSpPr/>
            <p:nvPr userDrawn="1"/>
          </p:nvSpPr>
          <p:spPr>
            <a:xfrm>
              <a:off x="3183313" y="2769761"/>
              <a:ext cx="1290976" cy="180000"/>
            </a:xfrm>
            <a:custGeom>
              <a:avLst/>
              <a:gdLst>
                <a:gd name="connsiteX0" fmla="*/ 0 w 1290976"/>
                <a:gd name="connsiteY0" fmla="*/ 0 h 180000"/>
                <a:gd name="connsiteX1" fmla="*/ 1290976 w 1290976"/>
                <a:gd name="connsiteY1" fmla="*/ 0 h 180000"/>
                <a:gd name="connsiteX2" fmla="*/ 1290976 w 1290976"/>
                <a:gd name="connsiteY2" fmla="*/ 180000 h 180000"/>
                <a:gd name="connsiteX3" fmla="*/ 432000 w 1290976"/>
                <a:gd name="connsiteY3" fmla="*/ 180000 h 180000"/>
                <a:gd name="connsiteX4" fmla="*/ 432000 w 1290976"/>
                <a:gd name="connsiteY4" fmla="*/ 90000 h 180000"/>
                <a:gd name="connsiteX5" fmla="*/ 0 w 1290976"/>
                <a:gd name="connsiteY5" fmla="*/ 9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0976" h="180000">
                  <a:moveTo>
                    <a:pt x="0" y="0"/>
                  </a:moveTo>
                  <a:lnTo>
                    <a:pt x="1290976" y="0"/>
                  </a:lnTo>
                  <a:lnTo>
                    <a:pt x="1290976" y="180000"/>
                  </a:lnTo>
                  <a:lnTo>
                    <a:pt x="432000" y="180000"/>
                  </a:lnTo>
                  <a:lnTo>
                    <a:pt x="432000" y="90000"/>
                  </a:lnTo>
                  <a:lnTo>
                    <a:pt x="0" y="900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884AE187-4122-FB37-2FF3-8693ACDC0E0B}"/>
                </a:ext>
              </a:extLst>
            </p:cNvPr>
            <p:cNvSpPr/>
            <p:nvPr userDrawn="1"/>
          </p:nvSpPr>
          <p:spPr>
            <a:xfrm>
              <a:off x="7052397" y="2769761"/>
              <a:ext cx="4468091" cy="180000"/>
            </a:xfrm>
            <a:custGeom>
              <a:avLst/>
              <a:gdLst>
                <a:gd name="connsiteX0" fmla="*/ 0 w 4468091"/>
                <a:gd name="connsiteY0" fmla="*/ 0 h 180000"/>
                <a:gd name="connsiteX1" fmla="*/ 4468091 w 4468091"/>
                <a:gd name="connsiteY1" fmla="*/ 0 h 180000"/>
                <a:gd name="connsiteX2" fmla="*/ 4468091 w 4468091"/>
                <a:gd name="connsiteY2" fmla="*/ 180000 h 180000"/>
                <a:gd name="connsiteX3" fmla="*/ 1877674 w 4468091"/>
                <a:gd name="connsiteY3" fmla="*/ 180000 h 180000"/>
                <a:gd name="connsiteX4" fmla="*/ 1575877 w 4468091"/>
                <a:gd name="connsiteY4" fmla="*/ 180000 h 180000"/>
                <a:gd name="connsiteX5" fmla="*/ 1445674 w 4468091"/>
                <a:gd name="connsiteY5" fmla="*/ 180000 h 180000"/>
                <a:gd name="connsiteX6" fmla="*/ 1445674 w 4468091"/>
                <a:gd name="connsiteY6" fmla="*/ 90000 h 180000"/>
                <a:gd name="connsiteX7" fmla="*/ 1013272 w 4468091"/>
                <a:gd name="connsiteY7" fmla="*/ 90000 h 180000"/>
                <a:gd name="connsiteX8" fmla="*/ 1013272 w 4468091"/>
                <a:gd name="connsiteY8" fmla="*/ 108124 h 180000"/>
                <a:gd name="connsiteX9" fmla="*/ 1012938 w 4468091"/>
                <a:gd name="connsiteY9" fmla="*/ 108124 h 180000"/>
                <a:gd name="connsiteX10" fmla="*/ 1012938 w 4468091"/>
                <a:gd name="connsiteY10" fmla="*/ 180000 h 180000"/>
                <a:gd name="connsiteX11" fmla="*/ 0 w 4468091"/>
                <a:gd name="connsiteY11" fmla="*/ 18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68091" h="180000">
                  <a:moveTo>
                    <a:pt x="0" y="0"/>
                  </a:moveTo>
                  <a:lnTo>
                    <a:pt x="4468091" y="0"/>
                  </a:lnTo>
                  <a:lnTo>
                    <a:pt x="4468091" y="180000"/>
                  </a:lnTo>
                  <a:lnTo>
                    <a:pt x="1877674" y="180000"/>
                  </a:lnTo>
                  <a:lnTo>
                    <a:pt x="1575877" y="180000"/>
                  </a:lnTo>
                  <a:lnTo>
                    <a:pt x="1445674" y="180000"/>
                  </a:lnTo>
                  <a:lnTo>
                    <a:pt x="1445674" y="90000"/>
                  </a:lnTo>
                  <a:lnTo>
                    <a:pt x="1013272" y="90000"/>
                  </a:lnTo>
                  <a:lnTo>
                    <a:pt x="1013272" y="108124"/>
                  </a:lnTo>
                  <a:lnTo>
                    <a:pt x="1012938" y="108124"/>
                  </a:lnTo>
                  <a:lnTo>
                    <a:pt x="1012938" y="180000"/>
                  </a:lnTo>
                  <a:lnTo>
                    <a:pt x="0" y="18000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 dirty="0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A9B1889B-3432-A985-630E-77EFEADD23FB}"/>
                </a:ext>
              </a:extLst>
            </p:cNvPr>
            <p:cNvSpPr/>
            <p:nvPr userDrawn="1"/>
          </p:nvSpPr>
          <p:spPr>
            <a:xfrm>
              <a:off x="4473111" y="2769761"/>
              <a:ext cx="1296000" cy="180000"/>
            </a:xfrm>
            <a:custGeom>
              <a:avLst/>
              <a:gdLst>
                <a:gd name="connsiteX0" fmla="*/ 0 w 1296000"/>
                <a:gd name="connsiteY0" fmla="*/ 0 h 180000"/>
                <a:gd name="connsiteX1" fmla="*/ 1296000 w 1296000"/>
                <a:gd name="connsiteY1" fmla="*/ 0 h 180000"/>
                <a:gd name="connsiteX2" fmla="*/ 1296000 w 1296000"/>
                <a:gd name="connsiteY2" fmla="*/ 180000 h 180000"/>
                <a:gd name="connsiteX3" fmla="*/ 1164285 w 1296000"/>
                <a:gd name="connsiteY3" fmla="*/ 180000 h 180000"/>
                <a:gd name="connsiteX4" fmla="*/ 1164285 w 1296000"/>
                <a:gd name="connsiteY4" fmla="*/ 90000 h 180000"/>
                <a:gd name="connsiteX5" fmla="*/ 732285 w 1296000"/>
                <a:gd name="connsiteY5" fmla="*/ 90000 h 180000"/>
                <a:gd name="connsiteX6" fmla="*/ 732285 w 1296000"/>
                <a:gd name="connsiteY6" fmla="*/ 180000 h 180000"/>
                <a:gd name="connsiteX7" fmla="*/ 0 w 1296000"/>
                <a:gd name="connsiteY7" fmla="*/ 180000 h 180000"/>
                <a:gd name="connsiteX8" fmla="*/ 0 w 1296000"/>
                <a:gd name="connsiteY8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6000" h="180000">
                  <a:moveTo>
                    <a:pt x="0" y="0"/>
                  </a:moveTo>
                  <a:lnTo>
                    <a:pt x="1296000" y="0"/>
                  </a:lnTo>
                  <a:lnTo>
                    <a:pt x="1296000" y="180000"/>
                  </a:lnTo>
                  <a:lnTo>
                    <a:pt x="1164285" y="180000"/>
                  </a:lnTo>
                  <a:lnTo>
                    <a:pt x="1164285" y="90000"/>
                  </a:lnTo>
                  <a:lnTo>
                    <a:pt x="732285" y="90000"/>
                  </a:lnTo>
                  <a:lnTo>
                    <a:pt x="732285" y="180000"/>
                  </a:lnTo>
                  <a:lnTo>
                    <a:pt x="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7CDD414D-7846-D0B1-71F8-AE34F02C7AFC}"/>
                </a:ext>
              </a:extLst>
            </p:cNvPr>
            <p:cNvSpPr/>
            <p:nvPr userDrawn="1"/>
          </p:nvSpPr>
          <p:spPr>
            <a:xfrm>
              <a:off x="5757490" y="2769761"/>
              <a:ext cx="1295328" cy="180000"/>
            </a:xfrm>
            <a:custGeom>
              <a:avLst/>
              <a:gdLst>
                <a:gd name="connsiteX0" fmla="*/ 0 w 1295328"/>
                <a:gd name="connsiteY0" fmla="*/ 0 h 180000"/>
                <a:gd name="connsiteX1" fmla="*/ 518350 w 1295328"/>
                <a:gd name="connsiteY1" fmla="*/ 0 h 180000"/>
                <a:gd name="connsiteX2" fmla="*/ 518350 w 1295328"/>
                <a:gd name="connsiteY2" fmla="*/ 90000 h 180000"/>
                <a:gd name="connsiteX3" fmla="*/ 950350 w 1295328"/>
                <a:gd name="connsiteY3" fmla="*/ 90000 h 180000"/>
                <a:gd name="connsiteX4" fmla="*/ 950350 w 1295328"/>
                <a:gd name="connsiteY4" fmla="*/ 0 h 180000"/>
                <a:gd name="connsiteX5" fmla="*/ 1295328 w 1295328"/>
                <a:gd name="connsiteY5" fmla="*/ 0 h 180000"/>
                <a:gd name="connsiteX6" fmla="*/ 1295328 w 1295328"/>
                <a:gd name="connsiteY6" fmla="*/ 180000 h 180000"/>
                <a:gd name="connsiteX7" fmla="*/ 0 w 1295328"/>
                <a:gd name="connsiteY7" fmla="*/ 180000 h 180000"/>
                <a:gd name="connsiteX8" fmla="*/ 0 w 1295328"/>
                <a:gd name="connsiteY8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5328" h="180000">
                  <a:moveTo>
                    <a:pt x="0" y="0"/>
                  </a:moveTo>
                  <a:lnTo>
                    <a:pt x="518350" y="0"/>
                  </a:lnTo>
                  <a:lnTo>
                    <a:pt x="518350" y="90000"/>
                  </a:lnTo>
                  <a:lnTo>
                    <a:pt x="950350" y="90000"/>
                  </a:lnTo>
                  <a:lnTo>
                    <a:pt x="950350" y="0"/>
                  </a:lnTo>
                  <a:lnTo>
                    <a:pt x="1295328" y="0"/>
                  </a:lnTo>
                  <a:lnTo>
                    <a:pt x="1295328" y="180000"/>
                  </a:lnTo>
                  <a:lnTo>
                    <a:pt x="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F013B139-80B6-CC82-50DE-EBD54520A9CD}"/>
                </a:ext>
              </a:extLst>
            </p:cNvPr>
            <p:cNvSpPr/>
            <p:nvPr userDrawn="1"/>
          </p:nvSpPr>
          <p:spPr>
            <a:xfrm>
              <a:off x="1659867" y="2854863"/>
              <a:ext cx="432000" cy="90000"/>
            </a:xfrm>
            <a:prstGeom prst="rect">
              <a:avLst/>
            </a:prstGeom>
            <a:solidFill>
              <a:srgbClr val="6E8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13C3819D-D22A-13A0-E934-C46997870BE1}"/>
                </a:ext>
              </a:extLst>
            </p:cNvPr>
            <p:cNvSpPr/>
            <p:nvPr userDrawn="1"/>
          </p:nvSpPr>
          <p:spPr>
            <a:xfrm>
              <a:off x="1379690" y="2586162"/>
              <a:ext cx="432000" cy="90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</p:grpSp>
      <p:pic>
        <p:nvPicPr>
          <p:cNvPr id="70" name="Graphic 69">
            <a:extLst>
              <a:ext uri="{FF2B5EF4-FFF2-40B4-BE49-F238E27FC236}">
                <a16:creationId xmlns:a16="http://schemas.microsoft.com/office/drawing/2014/main" id="{0980F466-D6BA-8819-D6D3-AA7F5427538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710645" y="3338095"/>
            <a:ext cx="2481755" cy="531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431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1" userDrawn="1">
          <p15:clr>
            <a:srgbClr val="FBAE40"/>
          </p15:clr>
        </p15:guide>
        <p15:guide id="2" pos="449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121C4B-E1F8-7F2C-8417-996EB2DD26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0061" y="1746288"/>
            <a:ext cx="8640366" cy="1570302"/>
          </a:xfrm>
        </p:spPr>
        <p:txBody>
          <a:bodyPr anchor="b"/>
          <a:lstStyle>
            <a:lvl1pPr algn="ctr">
              <a:defRPr sz="5669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82BE8D9-15FC-82FC-D281-EEC011D33C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0061" y="3403592"/>
            <a:ext cx="8640366" cy="1564542"/>
          </a:xfrm>
        </p:spPr>
        <p:txBody>
          <a:bodyPr/>
          <a:lstStyle>
            <a:lvl1pPr marL="0" indent="0" algn="ctr">
              <a:buNone/>
              <a:defRPr sz="2268"/>
            </a:lvl1pPr>
            <a:lvl2pPr marL="432008" indent="0" algn="ctr">
              <a:buNone/>
              <a:defRPr sz="1890"/>
            </a:lvl2pPr>
            <a:lvl3pPr marL="864017" indent="0" algn="ctr">
              <a:buNone/>
              <a:defRPr sz="1701"/>
            </a:lvl3pPr>
            <a:lvl4pPr marL="1296025" indent="0" algn="ctr">
              <a:buNone/>
              <a:defRPr sz="1512"/>
            </a:lvl4pPr>
            <a:lvl5pPr marL="1728033" indent="0" algn="ctr">
              <a:buNone/>
              <a:defRPr sz="1512"/>
            </a:lvl5pPr>
            <a:lvl6pPr marL="2160041" indent="0" algn="ctr">
              <a:buNone/>
              <a:defRPr sz="1512"/>
            </a:lvl6pPr>
            <a:lvl7pPr marL="2592050" indent="0" algn="ctr">
              <a:buNone/>
              <a:defRPr sz="1512"/>
            </a:lvl7pPr>
            <a:lvl8pPr marL="3024058" indent="0" algn="ctr">
              <a:buNone/>
              <a:defRPr sz="1512"/>
            </a:lvl8pPr>
            <a:lvl9pPr marL="3456066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CC6A2C-7766-A643-7195-52BF1200A2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439FAD-6824-A6DE-7A64-CE0AA86AA8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Hi-Drive Enabler: Trajectory Planner / 2023-05-1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0C1A5F-83E2-5050-C3ED-94046ECD74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353B6-E861-49AF-B9E3-C3AC05F98B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896412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265784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28" cy="158750"/>
          </a:xfrm>
          <a:prstGeom prst="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" y="1"/>
            <a:ext cx="11520488" cy="6480175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86398" tIns="43198" rIns="86398" bIns="43198" rtlCol="0" anchor="ctr"/>
          <a:lstStyle/>
          <a:p>
            <a:pPr algn="ctr"/>
            <a:endParaRPr lang="en-US" sz="1905"/>
          </a:p>
        </p:txBody>
      </p:sp>
      <p:sp>
        <p:nvSpPr>
          <p:cNvPr id="10" name="Rectangle 9"/>
          <p:cNvSpPr/>
          <p:nvPr userDrawn="1"/>
        </p:nvSpPr>
        <p:spPr>
          <a:xfrm>
            <a:off x="2520690" y="1"/>
            <a:ext cx="6479108" cy="6480175"/>
          </a:xfrm>
          <a:prstGeom prst="rect">
            <a:avLst/>
          </a:prstGeom>
          <a:solidFill>
            <a:schemeClr val="bg1">
              <a:alpha val="50196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398" tIns="43198" rIns="86398" bIns="43198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872036" y="4890500"/>
            <a:ext cx="9748414" cy="540015"/>
          </a:xfrm>
        </p:spPr>
        <p:txBody>
          <a:bodyPr/>
          <a:lstStyle>
            <a:lvl1pPr algn="ctr">
              <a:defRPr sz="28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714073" y="5376727"/>
            <a:ext cx="8064343" cy="766482"/>
          </a:xfrm>
        </p:spPr>
        <p:txBody>
          <a:bodyPr>
            <a:normAutofit/>
          </a:bodyPr>
          <a:lstStyle>
            <a:lvl1pPr marL="0" indent="0" algn="ctr">
              <a:buFont typeface="Symbol" pitchFamily="18" charset="2"/>
              <a:buNone/>
              <a:defRPr sz="1600" baseline="0"/>
            </a:lvl1pPr>
          </a:lstStyle>
          <a:p>
            <a:pPr lvl="0"/>
            <a:r>
              <a:rPr lang="en-US" noProof="0"/>
              <a:t>Click to edit subtitle</a:t>
            </a:r>
          </a:p>
        </p:txBody>
      </p:sp>
      <p:pic>
        <p:nvPicPr>
          <p:cNvPr id="11" name="Bildobjekt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368" y="2340088"/>
            <a:ext cx="1799752" cy="1800000"/>
          </a:xfrm>
          <a:prstGeom prst="rect">
            <a:avLst/>
          </a:prstGeom>
          <a:ln w="12700">
            <a:noFill/>
          </a:ln>
        </p:spPr>
      </p:pic>
    </p:spTree>
    <p:extLst>
      <p:ext uri="{BB962C8B-B14F-4D97-AF65-F5344CB8AC3E}">
        <p14:creationId xmlns:p14="http://schemas.microsoft.com/office/powerpoint/2010/main" val="5881814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306388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757134" y="5877340"/>
            <a:ext cx="2368224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00" b="1" baseline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13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134" y="6150009"/>
            <a:ext cx="511105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441" y="6148422"/>
            <a:ext cx="2861402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  <p:pic>
        <p:nvPicPr>
          <p:cNvPr id="15" name="Bildobjekt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5445" y="5832176"/>
            <a:ext cx="647910" cy="648000"/>
          </a:xfrm>
          <a:prstGeom prst="rect">
            <a:avLst/>
          </a:prstGeom>
          <a:ln w="12700">
            <a:noFill/>
          </a:ln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667206" y="582900"/>
            <a:ext cx="10096150" cy="10763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idx="1"/>
          </p:nvPr>
        </p:nvSpPr>
        <p:spPr>
          <a:xfrm>
            <a:off x="667205" y="1663908"/>
            <a:ext cx="10096151" cy="40987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03" lvl="0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03" lvl="1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03" lvl="2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03" lvl="3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03" lvl="4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26480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37636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667206" y="1115947"/>
            <a:ext cx="10081397" cy="3861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1800" b="0">
                <a:solidFill>
                  <a:schemeClr val="accent3"/>
                </a:solidFill>
              </a:defRPr>
            </a:lvl1pPr>
            <a:lvl2pPr marL="457108" indent="0">
              <a:buNone/>
              <a:defRPr sz="1999" b="1"/>
            </a:lvl2pPr>
            <a:lvl3pPr marL="914216" indent="0">
              <a:buNone/>
              <a:defRPr sz="1800" b="1"/>
            </a:lvl3pPr>
            <a:lvl4pPr marL="1371324" indent="0">
              <a:buNone/>
              <a:defRPr sz="1600" b="1"/>
            </a:lvl4pPr>
            <a:lvl5pPr marL="1828432" indent="0">
              <a:buNone/>
              <a:defRPr sz="1600" b="1"/>
            </a:lvl5pPr>
            <a:lvl6pPr marL="2285540" indent="0">
              <a:buNone/>
              <a:defRPr sz="1600" b="1"/>
            </a:lvl6pPr>
            <a:lvl7pPr marL="2742648" indent="0">
              <a:buNone/>
              <a:defRPr sz="1600" b="1"/>
            </a:lvl7pPr>
            <a:lvl8pPr marL="3199756" indent="0">
              <a:buNone/>
              <a:defRPr sz="1600" b="1"/>
            </a:lvl8pPr>
            <a:lvl9pPr marL="3656864" indent="0">
              <a:buNone/>
              <a:defRPr sz="1600" b="1"/>
            </a:lvl9pPr>
          </a:lstStyle>
          <a:p>
            <a:pPr lvl="0"/>
            <a:r>
              <a:rPr lang="en-US" noProof="0"/>
              <a:t>CLICK TO ADD SUB-HEADING  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757134" y="5877340"/>
            <a:ext cx="2368224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00" b="1" baseline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134" y="6150009"/>
            <a:ext cx="511105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441" y="6148422"/>
            <a:ext cx="2861402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  <p:pic>
        <p:nvPicPr>
          <p:cNvPr id="14" name="Bildobjekt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5445" y="5832176"/>
            <a:ext cx="647910" cy="648000"/>
          </a:xfrm>
          <a:prstGeom prst="rect">
            <a:avLst/>
          </a:prstGeom>
          <a:ln w="12700">
            <a:noFill/>
          </a:ln>
        </p:spPr>
      </p:pic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667206" y="582902"/>
            <a:ext cx="10096150" cy="522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18"/>
          </p:nvPr>
        </p:nvSpPr>
        <p:spPr>
          <a:xfrm>
            <a:off x="666970" y="1663908"/>
            <a:ext cx="10096385" cy="4107305"/>
          </a:xfrm>
          <a:prstGeom prst="rect">
            <a:avLst/>
          </a:prstGeom>
        </p:spPr>
        <p:txBody>
          <a:bodyPr/>
          <a:lstStyle>
            <a:lvl1pPr marL="234903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252" indent="-20792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marL="234903" lvl="0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03" lvl="1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03" lvl="2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03" lvl="3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03" lvl="4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2916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ens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977CA0B7-C0DD-A782-5E27-845B66635A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66085" y="439200"/>
            <a:ext cx="2526315" cy="8640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-36957" y="1713677"/>
            <a:ext cx="11574653" cy="4798313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E321C5F5-46FC-6540-B2A7-DE4927D265DE}"/>
              </a:ext>
            </a:extLst>
          </p:cNvPr>
          <p:cNvSpPr/>
          <p:nvPr userDrawn="1"/>
        </p:nvSpPr>
        <p:spPr>
          <a:xfrm>
            <a:off x="9660" y="1713677"/>
            <a:ext cx="5920641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20000" y="3294000"/>
            <a:ext cx="7719807" cy="405560"/>
          </a:xfrm>
        </p:spPr>
        <p:txBody>
          <a:bodyPr anchor="t"/>
          <a:lstStyle>
            <a:lvl1pPr algn="l">
              <a:lnSpc>
                <a:spcPct val="110000"/>
              </a:lnSpc>
              <a:defRPr sz="2600" b="0" cap="none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0" y="4403834"/>
            <a:ext cx="5286407" cy="923816"/>
          </a:xfrm>
        </p:spPr>
        <p:txBody>
          <a:bodyPr>
            <a:normAutofit/>
          </a:bodyPr>
          <a:lstStyle>
            <a:lvl1pPr marL="0" indent="0" algn="l">
              <a:spcAft>
                <a:spcPts val="800"/>
              </a:spcAft>
              <a:buNone/>
              <a:defRPr sz="1800">
                <a:solidFill>
                  <a:schemeClr val="bg1"/>
                </a:solidFill>
              </a:defRPr>
            </a:lvl1pPr>
            <a:lvl2pPr marL="431992" indent="0" algn="ctr">
              <a:buNone/>
              <a:defRPr sz="1890"/>
            </a:lvl2pPr>
            <a:lvl3pPr marL="863985" indent="0" algn="ctr">
              <a:buNone/>
              <a:defRPr sz="1701"/>
            </a:lvl3pPr>
            <a:lvl4pPr marL="1295977" indent="0" algn="ctr">
              <a:buNone/>
              <a:defRPr sz="1512"/>
            </a:lvl4pPr>
            <a:lvl5pPr marL="1727969" indent="0" algn="ctr">
              <a:buNone/>
              <a:defRPr sz="1512"/>
            </a:lvl5pPr>
            <a:lvl6pPr marL="2159961" indent="0" algn="ctr">
              <a:buNone/>
              <a:defRPr sz="1512"/>
            </a:lvl6pPr>
            <a:lvl7pPr marL="2591954" indent="0" algn="ctr">
              <a:buNone/>
              <a:defRPr sz="1512"/>
            </a:lvl7pPr>
            <a:lvl8pPr marL="3023946" indent="0" algn="ctr">
              <a:buNone/>
              <a:defRPr sz="1512"/>
            </a:lvl8pPr>
            <a:lvl9pPr marL="3455939" indent="0" algn="ctr">
              <a:buNone/>
              <a:defRPr sz="1512"/>
            </a:lvl9pPr>
          </a:lstStyle>
          <a:p>
            <a:r>
              <a:rPr lang="de-DE" dirty="0"/>
              <a:t>Formatvorlage des Untertitelmasters durch Klicken bearbeiten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9526588" y="5538788"/>
            <a:ext cx="1666875" cy="557212"/>
          </a:xfr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dirty="0"/>
              <a:t>Partner Logo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0FB68CB-6E5E-3E86-E37A-99B48F640E14}"/>
              </a:ext>
            </a:extLst>
          </p:cNvPr>
          <p:cNvSpPr txBox="1"/>
          <p:nvPr userDrawn="1"/>
        </p:nvSpPr>
        <p:spPr>
          <a:xfrm rot="16200000">
            <a:off x="11094898" y="3231613"/>
            <a:ext cx="64953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700" b="0" i="0" kern="1200" dirty="0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+mn-lt"/>
                <a:ea typeface="+mn-ea"/>
                <a:cs typeface="+mn-cs"/>
              </a:rPr>
              <a:t>© Unsplash</a:t>
            </a:r>
            <a:endParaRPr lang="en-DE" sz="7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01ED600-E798-914F-8956-F57D3D6819BA}"/>
              </a:ext>
            </a:extLst>
          </p:cNvPr>
          <p:cNvSpPr/>
          <p:nvPr userDrawn="1"/>
        </p:nvSpPr>
        <p:spPr>
          <a:xfrm>
            <a:off x="4899246" y="1448235"/>
            <a:ext cx="432000" cy="9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DEEFFE5-596F-3F41-A960-CFB4CAD8361A}"/>
              </a:ext>
            </a:extLst>
          </p:cNvPr>
          <p:cNvSpPr/>
          <p:nvPr userDrawn="1"/>
        </p:nvSpPr>
        <p:spPr>
          <a:xfrm>
            <a:off x="2527042" y="1959214"/>
            <a:ext cx="432000" cy="9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0C7099A-8B61-7743-A960-5C3B276506C1}"/>
              </a:ext>
            </a:extLst>
          </p:cNvPr>
          <p:cNvSpPr/>
          <p:nvPr userDrawn="1"/>
        </p:nvSpPr>
        <p:spPr>
          <a:xfrm>
            <a:off x="5574407" y="1567650"/>
            <a:ext cx="432000" cy="9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9F5014C-FE5B-A844-8C3F-4860A59A9CB7}"/>
              </a:ext>
            </a:extLst>
          </p:cNvPr>
          <p:cNvSpPr/>
          <p:nvPr userDrawn="1"/>
        </p:nvSpPr>
        <p:spPr>
          <a:xfrm>
            <a:off x="7703329" y="1979119"/>
            <a:ext cx="432000" cy="90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44E5AACB-5565-5F8D-04A9-9341CCDB1A65}"/>
              </a:ext>
            </a:extLst>
          </p:cNvPr>
          <p:cNvSpPr/>
          <p:nvPr userDrawn="1"/>
        </p:nvSpPr>
        <p:spPr>
          <a:xfrm>
            <a:off x="3186488" y="1713677"/>
            <a:ext cx="1290976" cy="180000"/>
          </a:xfrm>
          <a:custGeom>
            <a:avLst/>
            <a:gdLst>
              <a:gd name="connsiteX0" fmla="*/ 0 w 1290976"/>
              <a:gd name="connsiteY0" fmla="*/ 0 h 180000"/>
              <a:gd name="connsiteX1" fmla="*/ 1290976 w 1290976"/>
              <a:gd name="connsiteY1" fmla="*/ 0 h 180000"/>
              <a:gd name="connsiteX2" fmla="*/ 1290976 w 1290976"/>
              <a:gd name="connsiteY2" fmla="*/ 180000 h 180000"/>
              <a:gd name="connsiteX3" fmla="*/ 432000 w 1290976"/>
              <a:gd name="connsiteY3" fmla="*/ 180000 h 180000"/>
              <a:gd name="connsiteX4" fmla="*/ 432000 w 1290976"/>
              <a:gd name="connsiteY4" fmla="*/ 90000 h 180000"/>
              <a:gd name="connsiteX5" fmla="*/ 0 w 1290976"/>
              <a:gd name="connsiteY5" fmla="*/ 90000 h 1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0976" h="180000">
                <a:moveTo>
                  <a:pt x="0" y="0"/>
                </a:moveTo>
                <a:lnTo>
                  <a:pt x="1290976" y="0"/>
                </a:lnTo>
                <a:lnTo>
                  <a:pt x="1290976" y="180000"/>
                </a:lnTo>
                <a:lnTo>
                  <a:pt x="432000" y="180000"/>
                </a:lnTo>
                <a:lnTo>
                  <a:pt x="432000" y="90000"/>
                </a:lnTo>
                <a:lnTo>
                  <a:pt x="0" y="90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DE"/>
          </a:p>
        </p:txBody>
      </p:sp>
      <p:sp>
        <p:nvSpPr>
          <p:cNvPr id="42" name="Freeform 41">
            <a:extLst>
              <a:ext uri="{FF2B5EF4-FFF2-40B4-BE49-F238E27FC236}">
                <a16:creationId xmlns:a16="http://schemas.microsoft.com/office/drawing/2014/main" id="{FE5DAF73-1478-7131-A481-7121829B3A80}"/>
              </a:ext>
            </a:extLst>
          </p:cNvPr>
          <p:cNvSpPr/>
          <p:nvPr userDrawn="1"/>
        </p:nvSpPr>
        <p:spPr>
          <a:xfrm>
            <a:off x="7055572" y="1713677"/>
            <a:ext cx="4468091" cy="180000"/>
          </a:xfrm>
          <a:custGeom>
            <a:avLst/>
            <a:gdLst>
              <a:gd name="connsiteX0" fmla="*/ 0 w 4468091"/>
              <a:gd name="connsiteY0" fmla="*/ 0 h 180000"/>
              <a:gd name="connsiteX1" fmla="*/ 4468091 w 4468091"/>
              <a:gd name="connsiteY1" fmla="*/ 0 h 180000"/>
              <a:gd name="connsiteX2" fmla="*/ 4468091 w 4468091"/>
              <a:gd name="connsiteY2" fmla="*/ 180000 h 180000"/>
              <a:gd name="connsiteX3" fmla="*/ 1877674 w 4468091"/>
              <a:gd name="connsiteY3" fmla="*/ 180000 h 180000"/>
              <a:gd name="connsiteX4" fmla="*/ 1575877 w 4468091"/>
              <a:gd name="connsiteY4" fmla="*/ 180000 h 180000"/>
              <a:gd name="connsiteX5" fmla="*/ 1445674 w 4468091"/>
              <a:gd name="connsiteY5" fmla="*/ 180000 h 180000"/>
              <a:gd name="connsiteX6" fmla="*/ 1445674 w 4468091"/>
              <a:gd name="connsiteY6" fmla="*/ 90000 h 180000"/>
              <a:gd name="connsiteX7" fmla="*/ 1013272 w 4468091"/>
              <a:gd name="connsiteY7" fmla="*/ 90000 h 180000"/>
              <a:gd name="connsiteX8" fmla="*/ 1013272 w 4468091"/>
              <a:gd name="connsiteY8" fmla="*/ 108124 h 180000"/>
              <a:gd name="connsiteX9" fmla="*/ 1012938 w 4468091"/>
              <a:gd name="connsiteY9" fmla="*/ 108124 h 180000"/>
              <a:gd name="connsiteX10" fmla="*/ 1012938 w 4468091"/>
              <a:gd name="connsiteY10" fmla="*/ 180000 h 180000"/>
              <a:gd name="connsiteX11" fmla="*/ 0 w 4468091"/>
              <a:gd name="connsiteY11" fmla="*/ 180000 h 1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468091" h="180000">
                <a:moveTo>
                  <a:pt x="0" y="0"/>
                </a:moveTo>
                <a:lnTo>
                  <a:pt x="4468091" y="0"/>
                </a:lnTo>
                <a:lnTo>
                  <a:pt x="4468091" y="180000"/>
                </a:lnTo>
                <a:lnTo>
                  <a:pt x="1877674" y="180000"/>
                </a:lnTo>
                <a:lnTo>
                  <a:pt x="1575877" y="180000"/>
                </a:lnTo>
                <a:lnTo>
                  <a:pt x="1445674" y="180000"/>
                </a:lnTo>
                <a:lnTo>
                  <a:pt x="1445674" y="90000"/>
                </a:lnTo>
                <a:lnTo>
                  <a:pt x="1013272" y="90000"/>
                </a:lnTo>
                <a:lnTo>
                  <a:pt x="1013272" y="108124"/>
                </a:lnTo>
                <a:lnTo>
                  <a:pt x="1012938" y="108124"/>
                </a:lnTo>
                <a:lnTo>
                  <a:pt x="1012938" y="180000"/>
                </a:lnTo>
                <a:lnTo>
                  <a:pt x="0" y="180000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DE" dirty="0"/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DC9E42AA-98E4-2FB6-4A8B-4A4270C18D67}"/>
              </a:ext>
            </a:extLst>
          </p:cNvPr>
          <p:cNvSpPr/>
          <p:nvPr userDrawn="1"/>
        </p:nvSpPr>
        <p:spPr>
          <a:xfrm>
            <a:off x="4476286" y="1713677"/>
            <a:ext cx="1296000" cy="180000"/>
          </a:xfrm>
          <a:custGeom>
            <a:avLst/>
            <a:gdLst>
              <a:gd name="connsiteX0" fmla="*/ 0 w 1296000"/>
              <a:gd name="connsiteY0" fmla="*/ 0 h 180000"/>
              <a:gd name="connsiteX1" fmla="*/ 1296000 w 1296000"/>
              <a:gd name="connsiteY1" fmla="*/ 0 h 180000"/>
              <a:gd name="connsiteX2" fmla="*/ 1296000 w 1296000"/>
              <a:gd name="connsiteY2" fmla="*/ 180000 h 180000"/>
              <a:gd name="connsiteX3" fmla="*/ 1164285 w 1296000"/>
              <a:gd name="connsiteY3" fmla="*/ 180000 h 180000"/>
              <a:gd name="connsiteX4" fmla="*/ 1164285 w 1296000"/>
              <a:gd name="connsiteY4" fmla="*/ 90000 h 180000"/>
              <a:gd name="connsiteX5" fmla="*/ 732285 w 1296000"/>
              <a:gd name="connsiteY5" fmla="*/ 90000 h 180000"/>
              <a:gd name="connsiteX6" fmla="*/ 732285 w 1296000"/>
              <a:gd name="connsiteY6" fmla="*/ 180000 h 180000"/>
              <a:gd name="connsiteX7" fmla="*/ 0 w 1296000"/>
              <a:gd name="connsiteY7" fmla="*/ 180000 h 180000"/>
              <a:gd name="connsiteX8" fmla="*/ 0 w 1296000"/>
              <a:gd name="connsiteY8" fmla="*/ 0 h 1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96000" h="180000">
                <a:moveTo>
                  <a:pt x="0" y="0"/>
                </a:moveTo>
                <a:lnTo>
                  <a:pt x="1296000" y="0"/>
                </a:lnTo>
                <a:lnTo>
                  <a:pt x="1296000" y="180000"/>
                </a:lnTo>
                <a:lnTo>
                  <a:pt x="1164285" y="180000"/>
                </a:lnTo>
                <a:lnTo>
                  <a:pt x="1164285" y="90000"/>
                </a:lnTo>
                <a:lnTo>
                  <a:pt x="732285" y="90000"/>
                </a:lnTo>
                <a:lnTo>
                  <a:pt x="732285" y="180000"/>
                </a:lnTo>
                <a:lnTo>
                  <a:pt x="0" y="180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DE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FE834C92-A339-EF4D-F314-5917EBF0FD2B}"/>
              </a:ext>
            </a:extLst>
          </p:cNvPr>
          <p:cNvSpPr/>
          <p:nvPr userDrawn="1"/>
        </p:nvSpPr>
        <p:spPr>
          <a:xfrm>
            <a:off x="5760665" y="1713677"/>
            <a:ext cx="1295328" cy="180000"/>
          </a:xfrm>
          <a:custGeom>
            <a:avLst/>
            <a:gdLst>
              <a:gd name="connsiteX0" fmla="*/ 0 w 1295328"/>
              <a:gd name="connsiteY0" fmla="*/ 0 h 180000"/>
              <a:gd name="connsiteX1" fmla="*/ 518350 w 1295328"/>
              <a:gd name="connsiteY1" fmla="*/ 0 h 180000"/>
              <a:gd name="connsiteX2" fmla="*/ 518350 w 1295328"/>
              <a:gd name="connsiteY2" fmla="*/ 90000 h 180000"/>
              <a:gd name="connsiteX3" fmla="*/ 950350 w 1295328"/>
              <a:gd name="connsiteY3" fmla="*/ 90000 h 180000"/>
              <a:gd name="connsiteX4" fmla="*/ 950350 w 1295328"/>
              <a:gd name="connsiteY4" fmla="*/ 0 h 180000"/>
              <a:gd name="connsiteX5" fmla="*/ 1295328 w 1295328"/>
              <a:gd name="connsiteY5" fmla="*/ 0 h 180000"/>
              <a:gd name="connsiteX6" fmla="*/ 1295328 w 1295328"/>
              <a:gd name="connsiteY6" fmla="*/ 180000 h 180000"/>
              <a:gd name="connsiteX7" fmla="*/ 0 w 1295328"/>
              <a:gd name="connsiteY7" fmla="*/ 180000 h 180000"/>
              <a:gd name="connsiteX8" fmla="*/ 0 w 1295328"/>
              <a:gd name="connsiteY8" fmla="*/ 0 h 1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95328" h="180000">
                <a:moveTo>
                  <a:pt x="0" y="0"/>
                </a:moveTo>
                <a:lnTo>
                  <a:pt x="518350" y="0"/>
                </a:lnTo>
                <a:lnTo>
                  <a:pt x="518350" y="90000"/>
                </a:lnTo>
                <a:lnTo>
                  <a:pt x="950350" y="90000"/>
                </a:lnTo>
                <a:lnTo>
                  <a:pt x="950350" y="0"/>
                </a:lnTo>
                <a:lnTo>
                  <a:pt x="1295328" y="0"/>
                </a:lnTo>
                <a:lnTo>
                  <a:pt x="1295328" y="180000"/>
                </a:lnTo>
                <a:lnTo>
                  <a:pt x="0" y="180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DE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014E1DB-B0D0-66C1-0BA6-AC2D4806B632}"/>
              </a:ext>
            </a:extLst>
          </p:cNvPr>
          <p:cNvSpPr/>
          <p:nvPr userDrawn="1"/>
        </p:nvSpPr>
        <p:spPr>
          <a:xfrm>
            <a:off x="1663042" y="1805479"/>
            <a:ext cx="432000" cy="9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753EE13-C3F3-98C1-8BC3-8F55195893FA}"/>
              </a:ext>
            </a:extLst>
          </p:cNvPr>
          <p:cNvSpPr/>
          <p:nvPr userDrawn="1"/>
        </p:nvSpPr>
        <p:spPr>
          <a:xfrm>
            <a:off x="1382865" y="1536778"/>
            <a:ext cx="432000" cy="9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541198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06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7845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66971" y="1663908"/>
            <a:ext cx="4967316" cy="4107305"/>
          </a:xfrm>
          <a:prstGeom prst="rect">
            <a:avLst/>
          </a:prstGeom>
        </p:spPr>
        <p:txBody>
          <a:bodyPr/>
          <a:lstStyle>
            <a:lvl1pPr marL="234903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252" indent="-20792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marL="234903" lvl="0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03" lvl="1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03" lvl="2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03" lvl="3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03" lvl="4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757134" y="5877340"/>
            <a:ext cx="2368224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00" b="1" baseline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134" y="6150009"/>
            <a:ext cx="511105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441" y="6148422"/>
            <a:ext cx="2861402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  <p:pic>
        <p:nvPicPr>
          <p:cNvPr id="14" name="Bildobjekt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5445" y="5832176"/>
            <a:ext cx="647910" cy="648000"/>
          </a:xfrm>
          <a:prstGeom prst="rect">
            <a:avLst/>
          </a:prstGeom>
          <a:ln w="12700">
            <a:noFill/>
          </a:ln>
        </p:spPr>
      </p:pic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667206" y="582900"/>
            <a:ext cx="10096150" cy="10763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0"/>
          </p:nvPr>
        </p:nvSpPr>
        <p:spPr>
          <a:xfrm>
            <a:off x="5780879" y="1663908"/>
            <a:ext cx="4967316" cy="4107305"/>
          </a:xfrm>
          <a:prstGeom prst="rect">
            <a:avLst/>
          </a:prstGeom>
        </p:spPr>
        <p:txBody>
          <a:bodyPr/>
          <a:lstStyle>
            <a:lvl1pPr marL="234903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252" indent="-20792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marL="234903" lvl="0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03" lvl="1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03" lvl="2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03" lvl="3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03" lvl="4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659405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083161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757134" y="5877340"/>
            <a:ext cx="2368224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00" b="1" baseline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134" y="6019122"/>
            <a:ext cx="805862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Hi-Drive Enabler: Trajectory Planner / 2023-05-12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134" y="6150009"/>
            <a:ext cx="511105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441" y="6148422"/>
            <a:ext cx="2861402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5445" y="5832176"/>
            <a:ext cx="647910" cy="648000"/>
          </a:xfrm>
          <a:prstGeom prst="rect">
            <a:avLst/>
          </a:prstGeom>
          <a:ln w="12700">
            <a:noFill/>
          </a:ln>
        </p:spPr>
      </p:pic>
      <p:sp>
        <p:nvSpPr>
          <p:cNvPr id="11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-1"/>
            <a:ext cx="11520488" cy="6480175"/>
          </a:xfrm>
          <a:solidFill>
            <a:schemeClr val="bg2">
              <a:lumMod val="90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050" baseline="0"/>
            </a:lvl1pPr>
          </a:lstStyle>
          <a:p>
            <a:r>
              <a:rPr lang="sv-SE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6009600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35913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28" cy="158750"/>
          </a:xfrm>
          <a:prstGeom prst="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757134" y="5877340"/>
            <a:ext cx="2368224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00" b="1" baseline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134" y="6150009"/>
            <a:ext cx="511105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441" y="6148422"/>
            <a:ext cx="2861402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5445" y="5832176"/>
            <a:ext cx="647910" cy="648000"/>
          </a:xfrm>
          <a:prstGeom prst="rect">
            <a:avLst/>
          </a:prstGeom>
          <a:ln w="12700">
            <a:noFill/>
          </a:ln>
        </p:spPr>
      </p:pic>
      <p:sp>
        <p:nvSpPr>
          <p:cNvPr id="11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5752308" y="-1"/>
            <a:ext cx="5768179" cy="6480175"/>
          </a:xfrm>
          <a:solidFill>
            <a:schemeClr val="bg2">
              <a:lumMod val="90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050" baseline="0"/>
            </a:lvl1pPr>
          </a:lstStyle>
          <a:p>
            <a:r>
              <a:rPr lang="sv-SE"/>
              <a:t>Click icon to insert Pictur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667207" y="582900"/>
            <a:ext cx="5085101" cy="10763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667206" y="1663908"/>
            <a:ext cx="5085103" cy="40987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03" lvl="0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03" lvl="1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03" lvl="2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03" lvl="3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03" lvl="4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471126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447577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28" cy="158750"/>
          </a:xfrm>
          <a:prstGeom prst="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757134" y="5877340"/>
            <a:ext cx="2368224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00" b="1" baseline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134" y="6150009"/>
            <a:ext cx="511105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441" y="6148422"/>
            <a:ext cx="2861402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5445" y="5832176"/>
            <a:ext cx="647910" cy="648000"/>
          </a:xfrm>
          <a:prstGeom prst="rect">
            <a:avLst/>
          </a:prstGeom>
          <a:ln w="12700">
            <a:noFill/>
          </a:ln>
        </p:spPr>
      </p:pic>
      <p:sp>
        <p:nvSpPr>
          <p:cNvPr id="11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757134" y="676276"/>
            <a:ext cx="5011046" cy="5086350"/>
          </a:xfrm>
          <a:solidFill>
            <a:schemeClr val="bg2">
              <a:lumMod val="90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050" baseline="0"/>
            </a:lvl1pPr>
          </a:lstStyle>
          <a:p>
            <a:r>
              <a:rPr lang="sv-SE"/>
              <a:t>Click icon to insert Pictur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5895163" y="582900"/>
            <a:ext cx="4868192" cy="10763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"/>
          </p:nvPr>
        </p:nvSpPr>
        <p:spPr>
          <a:xfrm>
            <a:off x="5895164" y="1663908"/>
            <a:ext cx="4868192" cy="40987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03" lvl="0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03" lvl="1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03" lvl="2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03" lvl="3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03" lvl="4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13697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337989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757134" y="5877340"/>
            <a:ext cx="2368224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00" b="1" baseline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134" y="6150009"/>
            <a:ext cx="511105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441" y="6148422"/>
            <a:ext cx="2861402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  <p:pic>
        <p:nvPicPr>
          <p:cNvPr id="10" name="Bildobjekt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5445" y="5832176"/>
            <a:ext cx="647910" cy="648000"/>
          </a:xfrm>
          <a:prstGeom prst="rect">
            <a:avLst/>
          </a:prstGeom>
          <a:ln w="12700">
            <a:noFill/>
          </a:ln>
        </p:spPr>
      </p:pic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667206" y="582900"/>
            <a:ext cx="10096150" cy="10763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18438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134937"/>
              </p:ext>
            </p:extLst>
          </p:nvPr>
        </p:nvGraphicFramePr>
        <p:xfrm>
          <a:off x="2001" y="2005"/>
          <a:ext cx="1999" cy="1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2" progId="TCLayout.ActiveDocument.1">
                  <p:embed/>
                </p:oleObj>
              </mc:Choice>
              <mc:Fallback>
                <p:oleObj name="think-cell Slide" r:id="rId3" imgW="395" imgH="392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01" y="2005"/>
                        <a:ext cx="1999" cy="1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67207" y="1705369"/>
            <a:ext cx="10104085" cy="3591058"/>
          </a:xfrm>
        </p:spPr>
        <p:txBody>
          <a:bodyPr>
            <a:normAutofit/>
          </a:bodyPr>
          <a:lstStyle>
            <a:lvl1pPr marL="0" indent="0">
              <a:buNone/>
              <a:tabLst>
                <a:tab pos="1583574" algn="l"/>
                <a:tab pos="6998122" algn="l"/>
              </a:tabLst>
              <a:defRPr sz="1999" b="0" baseline="0"/>
            </a:lvl1pPr>
          </a:lstStyle>
          <a:p>
            <a:pPr lvl="0"/>
            <a:r>
              <a:rPr lang="en-US"/>
              <a:t>00:00-00:00	Tab to add text	Tab to add text 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757134" y="5877340"/>
            <a:ext cx="2368224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00" b="1" baseline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13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134" y="6150009"/>
            <a:ext cx="511105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441" y="6148422"/>
            <a:ext cx="2861402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67206" y="582900"/>
            <a:ext cx="10096150" cy="10763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genda title</a:t>
            </a:r>
          </a:p>
        </p:txBody>
      </p:sp>
    </p:spTree>
    <p:extLst>
      <p:ext uri="{BB962C8B-B14F-4D97-AF65-F5344CB8AC3E}">
        <p14:creationId xmlns:p14="http://schemas.microsoft.com/office/powerpoint/2010/main" val="13897149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Brand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 userDrawn="1"/>
        </p:nvSpPr>
        <p:spPr>
          <a:xfrm>
            <a:off x="1" y="1"/>
            <a:ext cx="11520488" cy="6480175"/>
          </a:xfrm>
          <a:prstGeom prst="rect">
            <a:avLst/>
          </a:prstGeom>
          <a:solidFill>
            <a:schemeClr val="bg1"/>
          </a:solidFill>
          <a:ln w="3175"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15196" tIns="57598" rIns="115196" bIns="575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sz="1905">
              <a:solidFill>
                <a:schemeClr val="tx1"/>
              </a:solidFill>
            </a:endParaRPr>
          </a:p>
        </p:txBody>
      </p:sp>
      <p:sp>
        <p:nvSpPr>
          <p:cNvPr id="76" name="Rectangle 59"/>
          <p:cNvSpPr/>
          <p:nvPr userDrawn="1"/>
        </p:nvSpPr>
        <p:spPr>
          <a:xfrm>
            <a:off x="631414" y="294942"/>
            <a:ext cx="7288163" cy="624152"/>
          </a:xfrm>
          <a:prstGeom prst="rect">
            <a:avLst/>
          </a:prstGeom>
        </p:spPr>
        <p:txBody>
          <a:bodyPr wrap="none" lIns="115196" tIns="57598" rIns="115196" bIns="57598">
            <a:spAutoFit/>
          </a:bodyPr>
          <a:lstStyle/>
          <a:p>
            <a:r>
              <a:rPr lang="sv-SE" sz="3300" b="1" kern="1200" spc="-101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lvo brand </a:t>
            </a:r>
            <a:r>
              <a:rPr lang="en-US" sz="3300" b="1" kern="1200" spc="-101" baseline="0" noProof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file</a:t>
            </a:r>
            <a:r>
              <a:rPr lang="sv-SE" sz="3300" b="1" kern="1200" spc="-101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nd accent colors</a:t>
            </a:r>
          </a:p>
        </p:txBody>
      </p:sp>
      <p:sp>
        <p:nvSpPr>
          <p:cNvPr id="7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8780793" y="3764329"/>
            <a:ext cx="317495" cy="317489"/>
          </a:xfrm>
          <a:prstGeom prst="ellipse">
            <a:avLst/>
          </a:prstGeom>
          <a:solidFill>
            <a:srgbClr val="DA4451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19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1" name="Rectangle 81"/>
          <p:cNvSpPr/>
          <p:nvPr userDrawn="1"/>
        </p:nvSpPr>
        <p:spPr>
          <a:xfrm>
            <a:off x="617615" y="906017"/>
            <a:ext cx="4584564" cy="693402"/>
          </a:xfrm>
          <a:prstGeom prst="rect">
            <a:avLst/>
          </a:prstGeom>
        </p:spPr>
        <p:txBody>
          <a:bodyPr wrap="square" lIns="115196" tIns="57598" rIns="115196" bIns="57598">
            <a:spAutoFit/>
          </a:bodyPr>
          <a:lstStyle/>
          <a:p>
            <a:pPr marL="0" indent="0">
              <a:spcBef>
                <a:spcPts val="252"/>
              </a:spcBef>
              <a:buNone/>
            </a:pPr>
            <a:r>
              <a:rPr lang="en-US" sz="1300" b="1" baseline="0">
                <a:solidFill>
                  <a:schemeClr val="tx1"/>
                </a:solidFill>
              </a:rPr>
              <a:t>Profile colors</a:t>
            </a:r>
          </a:p>
          <a:p>
            <a:pPr marL="0" indent="0">
              <a:spcBef>
                <a:spcPts val="252"/>
              </a:spcBef>
              <a:buNone/>
            </a:pPr>
            <a:r>
              <a:rPr lang="en-US" sz="1100" baseline="0">
                <a:solidFill>
                  <a:schemeClr val="tx1"/>
                </a:solidFill>
              </a:rPr>
              <a:t>These are our primary colors for decorative purposes. </a:t>
            </a:r>
            <a:br>
              <a:rPr lang="en-US" sz="1100" baseline="0">
                <a:solidFill>
                  <a:schemeClr val="tx1"/>
                </a:solidFill>
              </a:rPr>
            </a:br>
            <a:r>
              <a:rPr lang="en-US" sz="1100" baseline="0">
                <a:solidFill>
                  <a:schemeClr val="tx1"/>
                </a:solidFill>
              </a:rPr>
              <a:t>Use each color in 100%. (Avoid to use the tints and shades.) </a:t>
            </a:r>
          </a:p>
        </p:txBody>
      </p:sp>
      <p:cxnSp>
        <p:nvCxnSpPr>
          <p:cNvPr id="73" name="Rak 2"/>
          <p:cNvCxnSpPr/>
          <p:nvPr userDrawn="1"/>
        </p:nvCxnSpPr>
        <p:spPr>
          <a:xfrm>
            <a:off x="1148375" y="2375754"/>
            <a:ext cx="843594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Rak 89"/>
          <p:cNvCxnSpPr/>
          <p:nvPr userDrawn="1"/>
        </p:nvCxnSpPr>
        <p:spPr>
          <a:xfrm>
            <a:off x="2166129" y="2377281"/>
            <a:ext cx="96484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Rak 91"/>
          <p:cNvCxnSpPr/>
          <p:nvPr userDrawn="1"/>
        </p:nvCxnSpPr>
        <p:spPr>
          <a:xfrm>
            <a:off x="1148375" y="1951259"/>
            <a:ext cx="843594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Rak 92"/>
          <p:cNvCxnSpPr/>
          <p:nvPr userDrawn="1"/>
        </p:nvCxnSpPr>
        <p:spPr>
          <a:xfrm>
            <a:off x="2166129" y="1952786"/>
            <a:ext cx="96484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Rak 95"/>
          <p:cNvCxnSpPr/>
          <p:nvPr userDrawn="1"/>
        </p:nvCxnSpPr>
        <p:spPr>
          <a:xfrm>
            <a:off x="1148375" y="2797223"/>
            <a:ext cx="843594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Rak 96"/>
          <p:cNvCxnSpPr/>
          <p:nvPr userDrawn="1"/>
        </p:nvCxnSpPr>
        <p:spPr>
          <a:xfrm>
            <a:off x="2166129" y="2798750"/>
            <a:ext cx="96484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Rak 97"/>
          <p:cNvCxnSpPr/>
          <p:nvPr userDrawn="1"/>
        </p:nvCxnSpPr>
        <p:spPr>
          <a:xfrm>
            <a:off x="1148375" y="3213008"/>
            <a:ext cx="843594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Rak 98"/>
          <p:cNvCxnSpPr/>
          <p:nvPr userDrawn="1"/>
        </p:nvCxnSpPr>
        <p:spPr>
          <a:xfrm>
            <a:off x="2166129" y="3214535"/>
            <a:ext cx="96484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Rak 99"/>
          <p:cNvCxnSpPr/>
          <p:nvPr userDrawn="1"/>
        </p:nvCxnSpPr>
        <p:spPr>
          <a:xfrm>
            <a:off x="1148375" y="3633958"/>
            <a:ext cx="843594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Rak 100"/>
          <p:cNvCxnSpPr/>
          <p:nvPr userDrawn="1"/>
        </p:nvCxnSpPr>
        <p:spPr>
          <a:xfrm>
            <a:off x="2166129" y="3635485"/>
            <a:ext cx="96484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Rak 101"/>
          <p:cNvCxnSpPr/>
          <p:nvPr userDrawn="1"/>
        </p:nvCxnSpPr>
        <p:spPr>
          <a:xfrm>
            <a:off x="1148375" y="4054908"/>
            <a:ext cx="843594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Rak 102"/>
          <p:cNvCxnSpPr/>
          <p:nvPr userDrawn="1"/>
        </p:nvCxnSpPr>
        <p:spPr>
          <a:xfrm>
            <a:off x="2166129" y="4056435"/>
            <a:ext cx="96484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Rak 103"/>
          <p:cNvCxnSpPr/>
          <p:nvPr userDrawn="1"/>
        </p:nvCxnSpPr>
        <p:spPr>
          <a:xfrm>
            <a:off x="1148375" y="4477662"/>
            <a:ext cx="843594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Rak 104"/>
          <p:cNvCxnSpPr/>
          <p:nvPr userDrawn="1"/>
        </p:nvCxnSpPr>
        <p:spPr>
          <a:xfrm>
            <a:off x="2166129" y="4479189"/>
            <a:ext cx="96484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Rak 107"/>
          <p:cNvCxnSpPr/>
          <p:nvPr userDrawn="1"/>
        </p:nvCxnSpPr>
        <p:spPr>
          <a:xfrm>
            <a:off x="3847029" y="2375754"/>
            <a:ext cx="843594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Rak 108"/>
          <p:cNvCxnSpPr/>
          <p:nvPr userDrawn="1"/>
        </p:nvCxnSpPr>
        <p:spPr>
          <a:xfrm>
            <a:off x="4864783" y="2377281"/>
            <a:ext cx="96484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Rak 109"/>
          <p:cNvCxnSpPr/>
          <p:nvPr userDrawn="1"/>
        </p:nvCxnSpPr>
        <p:spPr>
          <a:xfrm>
            <a:off x="3847029" y="1951259"/>
            <a:ext cx="843594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Rak 110"/>
          <p:cNvCxnSpPr/>
          <p:nvPr userDrawn="1"/>
        </p:nvCxnSpPr>
        <p:spPr>
          <a:xfrm>
            <a:off x="4864783" y="1952786"/>
            <a:ext cx="96484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Rak 111"/>
          <p:cNvCxnSpPr/>
          <p:nvPr userDrawn="1"/>
        </p:nvCxnSpPr>
        <p:spPr>
          <a:xfrm>
            <a:off x="3847029" y="2797223"/>
            <a:ext cx="843594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Rak 112"/>
          <p:cNvCxnSpPr/>
          <p:nvPr userDrawn="1"/>
        </p:nvCxnSpPr>
        <p:spPr>
          <a:xfrm>
            <a:off x="4864783" y="2798750"/>
            <a:ext cx="96484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Rak 113"/>
          <p:cNvCxnSpPr/>
          <p:nvPr userDrawn="1"/>
        </p:nvCxnSpPr>
        <p:spPr>
          <a:xfrm>
            <a:off x="3847029" y="3213008"/>
            <a:ext cx="843594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Rak 114"/>
          <p:cNvCxnSpPr/>
          <p:nvPr userDrawn="1"/>
        </p:nvCxnSpPr>
        <p:spPr>
          <a:xfrm>
            <a:off x="4864783" y="3214535"/>
            <a:ext cx="96484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Rak 115"/>
          <p:cNvCxnSpPr/>
          <p:nvPr userDrawn="1"/>
        </p:nvCxnSpPr>
        <p:spPr>
          <a:xfrm>
            <a:off x="3847029" y="3633958"/>
            <a:ext cx="843594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Rak 116"/>
          <p:cNvCxnSpPr/>
          <p:nvPr userDrawn="1"/>
        </p:nvCxnSpPr>
        <p:spPr>
          <a:xfrm>
            <a:off x="4864783" y="3635485"/>
            <a:ext cx="96484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Rak 117"/>
          <p:cNvCxnSpPr/>
          <p:nvPr userDrawn="1"/>
        </p:nvCxnSpPr>
        <p:spPr>
          <a:xfrm>
            <a:off x="3847029" y="4054908"/>
            <a:ext cx="843594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Rak 118"/>
          <p:cNvCxnSpPr/>
          <p:nvPr userDrawn="1"/>
        </p:nvCxnSpPr>
        <p:spPr>
          <a:xfrm>
            <a:off x="4864783" y="4056435"/>
            <a:ext cx="96484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Rectangle 81"/>
          <p:cNvSpPr/>
          <p:nvPr userDrawn="1"/>
        </p:nvSpPr>
        <p:spPr>
          <a:xfrm>
            <a:off x="9086465" y="928001"/>
            <a:ext cx="2280423" cy="1116595"/>
          </a:xfrm>
          <a:prstGeom prst="rect">
            <a:avLst/>
          </a:prstGeom>
        </p:spPr>
        <p:txBody>
          <a:bodyPr wrap="square" lIns="115196" tIns="57598" rIns="115196" bIns="57598" numCol="1" spcCol="45360">
            <a:spAutoFit/>
          </a:bodyPr>
          <a:lstStyle/>
          <a:p>
            <a:pPr marL="0" indent="0">
              <a:spcBef>
                <a:spcPts val="290"/>
              </a:spcBef>
              <a:buNone/>
            </a:pPr>
            <a:r>
              <a:rPr lang="en-US" sz="1100" b="1" baseline="0">
                <a:solidFill>
                  <a:schemeClr val="tx1"/>
                </a:solidFill>
              </a:rPr>
              <a:t>Color</a:t>
            </a:r>
            <a:r>
              <a:rPr lang="en-US" sz="1100" b="1">
                <a:solidFill>
                  <a:schemeClr val="tx1"/>
                </a:solidFill>
              </a:rPr>
              <a:t>                </a:t>
            </a:r>
            <a:r>
              <a:rPr lang="en-US" sz="1100" b="1" baseline="0">
                <a:solidFill>
                  <a:schemeClr val="tx1"/>
                </a:solidFill>
              </a:rPr>
              <a:t>R       G       B</a:t>
            </a:r>
          </a:p>
          <a:p>
            <a:pPr marL="0" indent="0">
              <a:spcBef>
                <a:spcPts val="290"/>
              </a:spcBef>
              <a:buNone/>
            </a:pPr>
            <a:endParaRPr lang="en-US" sz="1100" b="1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r>
              <a:rPr lang="en-US" sz="1050" baseline="0">
                <a:solidFill>
                  <a:schemeClr val="tx1"/>
                </a:solidFill>
              </a:rPr>
              <a:t>TROPIC</a:t>
            </a:r>
            <a:r>
              <a:rPr lang="en-US" sz="1050">
                <a:solidFill>
                  <a:schemeClr val="tx1"/>
                </a:solidFill>
              </a:rPr>
              <a:t>        </a:t>
            </a:r>
            <a:r>
              <a:rPr lang="en-US" sz="900">
                <a:solidFill>
                  <a:schemeClr val="tx1"/>
                </a:solidFill>
              </a:rPr>
              <a:t>   </a:t>
            </a:r>
            <a:r>
              <a:rPr lang="en-US" sz="900" baseline="0">
                <a:solidFill>
                  <a:schemeClr val="tx1"/>
                </a:solidFill>
              </a:rPr>
              <a:t>   </a:t>
            </a:r>
            <a:r>
              <a:rPr lang="en-US" sz="1100" baseline="0">
                <a:solidFill>
                  <a:schemeClr val="tx1"/>
                </a:solidFill>
              </a:rPr>
              <a:t>203 </a:t>
            </a:r>
            <a:r>
              <a:rPr lang="en-US" sz="1100">
                <a:solidFill>
                  <a:schemeClr val="tx1"/>
                </a:solidFill>
              </a:rPr>
              <a:t>   100    </a:t>
            </a:r>
            <a:r>
              <a:rPr lang="en-US" sz="1100" baseline="0">
                <a:solidFill>
                  <a:schemeClr val="tx1"/>
                </a:solidFill>
              </a:rPr>
              <a:t>35</a:t>
            </a:r>
          </a:p>
          <a:p>
            <a:pPr marL="0" indent="0">
              <a:spcBef>
                <a:spcPts val="290"/>
              </a:spcBef>
              <a:buNone/>
            </a:pPr>
            <a:endParaRPr lang="en-US" sz="1100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r>
              <a:rPr lang="en-US" sz="1050" baseline="0">
                <a:solidFill>
                  <a:schemeClr val="tx1"/>
                </a:solidFill>
              </a:rPr>
              <a:t>SPRING </a:t>
            </a:r>
            <a:r>
              <a:rPr lang="en-US" sz="900" baseline="0">
                <a:solidFill>
                  <a:schemeClr val="tx1"/>
                </a:solidFill>
              </a:rPr>
              <a:t>        </a:t>
            </a:r>
            <a:r>
              <a:rPr lang="en-US" sz="1050">
                <a:solidFill>
                  <a:schemeClr val="tx1"/>
                </a:solidFill>
              </a:rPr>
              <a:t> 	   </a:t>
            </a:r>
            <a:r>
              <a:rPr lang="en-US" sz="1100" baseline="0">
                <a:solidFill>
                  <a:schemeClr val="tx1"/>
                </a:solidFill>
              </a:rPr>
              <a:t>176  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baseline="0">
                <a:solidFill>
                  <a:schemeClr val="tx1"/>
                </a:solidFill>
              </a:rPr>
              <a:t>164</a:t>
            </a:r>
            <a:r>
              <a:rPr lang="en-US" sz="1000" baseline="0">
                <a:solidFill>
                  <a:schemeClr val="tx1"/>
                </a:solidFill>
              </a:rPr>
              <a:t>     </a:t>
            </a:r>
            <a:r>
              <a:rPr lang="en-US" sz="1100" baseline="0">
                <a:solidFill>
                  <a:schemeClr val="tx1"/>
                </a:solidFill>
              </a:rPr>
              <a:t>52</a:t>
            </a:r>
            <a:endParaRPr lang="en-US" sz="1100" b="1" baseline="0">
              <a:solidFill>
                <a:schemeClr val="tx1"/>
              </a:solidFill>
            </a:endParaRPr>
          </a:p>
        </p:txBody>
      </p:sp>
      <p:cxnSp>
        <p:nvCxnSpPr>
          <p:cNvPr id="167" name="Rak 122"/>
          <p:cNvCxnSpPr/>
          <p:nvPr userDrawn="1"/>
        </p:nvCxnSpPr>
        <p:spPr>
          <a:xfrm>
            <a:off x="9196676" y="1709005"/>
            <a:ext cx="843594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Rak 123"/>
          <p:cNvCxnSpPr/>
          <p:nvPr userDrawn="1"/>
        </p:nvCxnSpPr>
        <p:spPr>
          <a:xfrm>
            <a:off x="10166813" y="1710532"/>
            <a:ext cx="96484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Rak 124"/>
          <p:cNvCxnSpPr/>
          <p:nvPr userDrawn="1"/>
        </p:nvCxnSpPr>
        <p:spPr>
          <a:xfrm>
            <a:off x="9196676" y="1284510"/>
            <a:ext cx="843594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Rak 125"/>
          <p:cNvCxnSpPr/>
          <p:nvPr userDrawn="1"/>
        </p:nvCxnSpPr>
        <p:spPr>
          <a:xfrm>
            <a:off x="10166813" y="1286037"/>
            <a:ext cx="96484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Rak 126"/>
          <p:cNvCxnSpPr/>
          <p:nvPr userDrawn="1"/>
        </p:nvCxnSpPr>
        <p:spPr>
          <a:xfrm>
            <a:off x="9196676" y="2130474"/>
            <a:ext cx="843594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Rak 127"/>
          <p:cNvCxnSpPr/>
          <p:nvPr userDrawn="1"/>
        </p:nvCxnSpPr>
        <p:spPr>
          <a:xfrm>
            <a:off x="10166813" y="2132001"/>
            <a:ext cx="96484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723118" y="1998751"/>
            <a:ext cx="317495" cy="317489"/>
          </a:xfrm>
          <a:prstGeom prst="ellipse">
            <a:avLst/>
          </a:prstGeom>
          <a:solidFill>
            <a:srgbClr val="998166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19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7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3118" y="2421619"/>
            <a:ext cx="317495" cy="317489"/>
          </a:xfrm>
          <a:prstGeom prst="ellipse">
            <a:avLst/>
          </a:prstGeom>
          <a:solidFill>
            <a:srgbClr val="BACFD9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19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77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23118" y="2844487"/>
            <a:ext cx="317495" cy="317489"/>
          </a:xfrm>
          <a:prstGeom prst="ellipse">
            <a:avLst/>
          </a:prstGeom>
          <a:solidFill>
            <a:srgbClr val="BFBAA6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19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7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723118" y="3267355"/>
            <a:ext cx="317495" cy="317489"/>
          </a:xfrm>
          <a:prstGeom prst="ellipse">
            <a:avLst/>
          </a:prstGeom>
          <a:solidFill>
            <a:srgbClr val="A0BAB8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19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7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723118" y="3690221"/>
            <a:ext cx="317495" cy="317489"/>
          </a:xfrm>
          <a:prstGeom prst="ellipse">
            <a:avLst/>
          </a:prstGeom>
          <a:solidFill>
            <a:srgbClr val="63605B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19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0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723118" y="4113090"/>
            <a:ext cx="317495" cy="317489"/>
          </a:xfrm>
          <a:prstGeom prst="ellipse">
            <a:avLst/>
          </a:prstGeom>
          <a:solidFill>
            <a:srgbClr val="8F8A83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19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1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3421623" y="1998751"/>
            <a:ext cx="317495" cy="317489"/>
          </a:xfrm>
          <a:prstGeom prst="ellipse">
            <a:avLst/>
          </a:prstGeom>
          <a:solidFill>
            <a:srgbClr val="BDB6AF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19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2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421623" y="2421619"/>
            <a:ext cx="317495" cy="317489"/>
          </a:xfrm>
          <a:prstGeom prst="ellipse">
            <a:avLst/>
          </a:prstGeom>
          <a:solidFill>
            <a:srgbClr val="E8E5E3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19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3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421623" y="2844487"/>
            <a:ext cx="317495" cy="317489"/>
          </a:xfrm>
          <a:prstGeom prst="ellipse">
            <a:avLst/>
          </a:prstGeom>
          <a:solidFill>
            <a:srgbClr val="634632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19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421623" y="3267355"/>
            <a:ext cx="317495" cy="317489"/>
          </a:xfrm>
          <a:prstGeom prst="ellipse">
            <a:avLst/>
          </a:prstGeom>
          <a:solidFill>
            <a:srgbClr val="084454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19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3421623" y="3690221"/>
            <a:ext cx="317495" cy="317489"/>
          </a:xfrm>
          <a:prstGeom prst="ellipse">
            <a:avLst/>
          </a:prstGeom>
          <a:solidFill>
            <a:srgbClr val="692F47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19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6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8780793" y="1326383"/>
            <a:ext cx="317495" cy="317489"/>
          </a:xfrm>
          <a:prstGeom prst="ellipse">
            <a:avLst/>
          </a:prstGeom>
          <a:solidFill>
            <a:srgbClr val="CB6423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19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8780793" y="1754692"/>
            <a:ext cx="317495" cy="317489"/>
          </a:xfrm>
          <a:prstGeom prst="ellipse">
            <a:avLst/>
          </a:prstGeom>
          <a:solidFill>
            <a:srgbClr val="B0A434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19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8" name="Rectangle 81"/>
          <p:cNvSpPr/>
          <p:nvPr userDrawn="1"/>
        </p:nvSpPr>
        <p:spPr>
          <a:xfrm>
            <a:off x="9080855" y="2294630"/>
            <a:ext cx="2280423" cy="2155341"/>
          </a:xfrm>
          <a:prstGeom prst="rect">
            <a:avLst/>
          </a:prstGeom>
        </p:spPr>
        <p:txBody>
          <a:bodyPr wrap="square" lIns="115196" tIns="57598" rIns="115196" bIns="57598" numCol="1" spcCol="45360">
            <a:spAutoFit/>
          </a:bodyPr>
          <a:lstStyle/>
          <a:p>
            <a:pPr marL="0" indent="0">
              <a:spcBef>
                <a:spcPts val="290"/>
              </a:spcBef>
              <a:buNone/>
            </a:pPr>
            <a:endParaRPr lang="en-US" sz="1100" b="1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endParaRPr lang="en-US" sz="1100" b="1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endParaRPr lang="en-US" sz="1100" b="1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r>
              <a:rPr lang="en-US" sz="1100" baseline="0">
                <a:solidFill>
                  <a:schemeClr val="tx1"/>
                </a:solidFill>
              </a:rPr>
              <a:t>Success</a:t>
            </a:r>
            <a:r>
              <a:rPr lang="en-US" sz="1100">
                <a:solidFill>
                  <a:schemeClr val="tx1"/>
                </a:solidFill>
              </a:rPr>
              <a:t>            </a:t>
            </a:r>
            <a:r>
              <a:rPr lang="en-US" sz="1100" baseline="0">
                <a:solidFill>
                  <a:schemeClr val="tx1"/>
                </a:solidFill>
              </a:rPr>
              <a:t>71     150   45</a:t>
            </a:r>
          </a:p>
          <a:p>
            <a:pPr marL="0" indent="0">
              <a:spcBef>
                <a:spcPts val="290"/>
              </a:spcBef>
              <a:buNone/>
            </a:pPr>
            <a:endParaRPr lang="en-US" sz="1100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r>
              <a:rPr lang="en-US" sz="1100">
                <a:solidFill>
                  <a:schemeClr val="tx1"/>
                </a:solidFill>
              </a:rPr>
              <a:t>Warning</a:t>
            </a:r>
            <a:r>
              <a:rPr lang="en-US" sz="1100" baseline="0">
                <a:solidFill>
                  <a:schemeClr val="tx1"/>
                </a:solidFill>
              </a:rPr>
              <a:t>            247    211   2</a:t>
            </a:r>
          </a:p>
          <a:p>
            <a:pPr marL="0" indent="0">
              <a:spcBef>
                <a:spcPts val="290"/>
              </a:spcBef>
              <a:buNone/>
            </a:pPr>
            <a:endParaRPr lang="en-US" sz="1100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r>
              <a:rPr lang="en-US" sz="1100">
                <a:solidFill>
                  <a:schemeClr val="tx1"/>
                </a:solidFill>
              </a:rPr>
              <a:t>Error</a:t>
            </a:r>
            <a:r>
              <a:rPr lang="en-US" sz="1100" baseline="0">
                <a:solidFill>
                  <a:schemeClr val="tx1"/>
                </a:solidFill>
              </a:rPr>
              <a:t> </a:t>
            </a:r>
            <a:r>
              <a:rPr lang="en-US" sz="1100">
                <a:solidFill>
                  <a:schemeClr val="tx1"/>
                </a:solidFill>
              </a:rPr>
              <a:t>                196    0       26</a:t>
            </a:r>
          </a:p>
          <a:p>
            <a:pPr marL="0" indent="0">
              <a:spcBef>
                <a:spcPts val="290"/>
              </a:spcBef>
              <a:buNone/>
            </a:pPr>
            <a:endParaRPr lang="en-US" sz="1100" baseline="0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r>
              <a:rPr lang="en-US" sz="1100" b="1">
                <a:solidFill>
                  <a:schemeClr val="tx1"/>
                </a:solidFill>
              </a:rPr>
              <a:t>	</a:t>
            </a:r>
            <a:endParaRPr lang="en-US" sz="1100" b="1" baseline="0">
              <a:solidFill>
                <a:schemeClr val="tx1"/>
              </a:solidFill>
            </a:endParaRPr>
          </a:p>
        </p:txBody>
      </p:sp>
      <p:cxnSp>
        <p:nvCxnSpPr>
          <p:cNvPr id="189" name="Rak 107"/>
          <p:cNvCxnSpPr/>
          <p:nvPr userDrawn="1"/>
        </p:nvCxnSpPr>
        <p:spPr>
          <a:xfrm>
            <a:off x="9191066" y="3294736"/>
            <a:ext cx="843594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Rak 108"/>
          <p:cNvCxnSpPr/>
          <p:nvPr userDrawn="1"/>
        </p:nvCxnSpPr>
        <p:spPr>
          <a:xfrm>
            <a:off x="10161203" y="3296263"/>
            <a:ext cx="96484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Rak 109"/>
          <p:cNvCxnSpPr/>
          <p:nvPr userDrawn="1"/>
        </p:nvCxnSpPr>
        <p:spPr>
          <a:xfrm>
            <a:off x="9191066" y="2870241"/>
            <a:ext cx="843594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Rak 110"/>
          <p:cNvCxnSpPr/>
          <p:nvPr userDrawn="1"/>
        </p:nvCxnSpPr>
        <p:spPr>
          <a:xfrm>
            <a:off x="10161203" y="2871768"/>
            <a:ext cx="96484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Rak 111"/>
          <p:cNvCxnSpPr/>
          <p:nvPr userDrawn="1"/>
        </p:nvCxnSpPr>
        <p:spPr>
          <a:xfrm>
            <a:off x="9191066" y="3716205"/>
            <a:ext cx="843594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Rak 112"/>
          <p:cNvCxnSpPr/>
          <p:nvPr userDrawn="1"/>
        </p:nvCxnSpPr>
        <p:spPr>
          <a:xfrm>
            <a:off x="10161203" y="3717732"/>
            <a:ext cx="96484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tangle 84"/>
          <p:cNvSpPr/>
          <p:nvPr userDrawn="1"/>
        </p:nvSpPr>
        <p:spPr>
          <a:xfrm>
            <a:off x="6013589" y="4704784"/>
            <a:ext cx="5360228" cy="1500788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15196" tIns="57598" rIns="115196" bIns="575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98" name="Text Box 56"/>
          <p:cNvSpPr txBox="1">
            <a:spLocks noChangeArrowheads="1"/>
          </p:cNvSpPr>
          <p:nvPr userDrawn="1"/>
        </p:nvSpPr>
        <p:spPr bwMode="auto">
          <a:xfrm>
            <a:off x="7797432" y="5515911"/>
            <a:ext cx="3576384" cy="454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15196" tIns="57598" rIns="115196" bIns="57598">
            <a:spAutoFit/>
          </a:bodyPr>
          <a:lstStyle/>
          <a:p>
            <a:pPr>
              <a:spcBef>
                <a:spcPts val="1512"/>
              </a:spcBef>
              <a:buClr>
                <a:schemeClr val="tx2"/>
              </a:buClr>
              <a:buSzPct val="110000"/>
            </a:pPr>
            <a:r>
              <a:rPr lang="en-US"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the ten profile colors when formatting text and objects in PowerPoint.</a:t>
            </a:r>
          </a:p>
        </p:txBody>
      </p:sp>
      <p:sp>
        <p:nvSpPr>
          <p:cNvPr id="200" name="AutoShape 38"/>
          <p:cNvSpPr>
            <a:spLocks/>
          </p:cNvSpPr>
          <p:nvPr userDrawn="1"/>
        </p:nvSpPr>
        <p:spPr bwMode="auto">
          <a:xfrm rot="10800000" flipH="1">
            <a:off x="7512851" y="4704784"/>
            <a:ext cx="88654" cy="752752"/>
          </a:xfrm>
          <a:prstGeom prst="rightBrace">
            <a:avLst>
              <a:gd name="adj1" fmla="val 60268"/>
              <a:gd name="adj2" fmla="val 50000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3382" tIns="58959" rIns="113382" bIns="58959" anchor="ctr"/>
          <a:lstStyle/>
          <a:p>
            <a:endParaRPr lang="en-US" sz="1905">
              <a:solidFill>
                <a:schemeClr val="tx1"/>
              </a:solidFill>
            </a:endParaRPr>
          </a:p>
        </p:txBody>
      </p:sp>
      <p:grpSp>
        <p:nvGrpSpPr>
          <p:cNvPr id="201" name="Group 89"/>
          <p:cNvGrpSpPr/>
          <p:nvPr userDrawn="1"/>
        </p:nvGrpSpPr>
        <p:grpSpPr>
          <a:xfrm>
            <a:off x="7626909" y="3655276"/>
            <a:ext cx="140619" cy="1103736"/>
            <a:chOff x="6365658" y="4893288"/>
            <a:chExt cx="365551" cy="1161358"/>
          </a:xfrm>
        </p:grpSpPr>
        <p:cxnSp>
          <p:nvCxnSpPr>
            <p:cNvPr id="202" name="Straight Connector 91"/>
            <p:cNvCxnSpPr/>
            <p:nvPr userDrawn="1"/>
          </p:nvCxnSpPr>
          <p:spPr>
            <a:xfrm>
              <a:off x="6365658" y="4893288"/>
              <a:ext cx="365551" cy="0"/>
            </a:xfrm>
            <a:prstGeom prst="line">
              <a:avLst/>
            </a:prstGeom>
            <a:ln>
              <a:solidFill>
                <a:schemeClr val="bg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92"/>
            <p:cNvCxnSpPr/>
            <p:nvPr userDrawn="1"/>
          </p:nvCxnSpPr>
          <p:spPr>
            <a:xfrm>
              <a:off x="6468234" y="5412672"/>
              <a:ext cx="262975" cy="0"/>
            </a:xfrm>
            <a:prstGeom prst="line">
              <a:avLst/>
            </a:prstGeom>
            <a:ln>
              <a:solidFill>
                <a:schemeClr val="bg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93"/>
            <p:cNvCxnSpPr/>
            <p:nvPr userDrawn="1"/>
          </p:nvCxnSpPr>
          <p:spPr>
            <a:xfrm>
              <a:off x="6365658" y="6054646"/>
              <a:ext cx="365551" cy="0"/>
            </a:xfrm>
            <a:prstGeom prst="line">
              <a:avLst/>
            </a:prstGeom>
            <a:ln>
              <a:solidFill>
                <a:schemeClr val="bg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5" name="Rectangle 94"/>
          <p:cNvSpPr/>
          <p:nvPr userDrawn="1"/>
        </p:nvSpPr>
        <p:spPr>
          <a:xfrm>
            <a:off x="7791877" y="4845783"/>
            <a:ext cx="3506812" cy="693402"/>
          </a:xfrm>
          <a:prstGeom prst="rect">
            <a:avLst/>
          </a:prstGeom>
        </p:spPr>
        <p:txBody>
          <a:bodyPr wrap="square" lIns="115196" tIns="57598" rIns="115196" bIns="57598">
            <a:spAutoFit/>
          </a:bodyPr>
          <a:lstStyle/>
          <a:p>
            <a:pPr marL="0" indent="0">
              <a:spcBef>
                <a:spcPts val="252"/>
              </a:spcBef>
              <a:buNone/>
            </a:pPr>
            <a:r>
              <a:rPr lang="en-US" sz="1300" b="1" baseline="0">
                <a:solidFill>
                  <a:schemeClr val="tx1"/>
                </a:solidFill>
              </a:rPr>
              <a:t>Volvo Brand colors in PowerPoint</a:t>
            </a:r>
          </a:p>
          <a:p>
            <a:pPr marL="0" indent="0">
              <a:spcBef>
                <a:spcPts val="252"/>
              </a:spcBef>
              <a:buNone/>
            </a:pPr>
            <a:r>
              <a:rPr lang="en-US" sz="1100" baseline="0">
                <a:solidFill>
                  <a:schemeClr val="tx1"/>
                </a:solidFill>
              </a:rPr>
              <a:t>Select an object. On the Home tab, in the group Drawing, click the down arrow on SHAPE FILL. </a:t>
            </a:r>
          </a:p>
        </p:txBody>
      </p:sp>
      <p:sp>
        <p:nvSpPr>
          <p:cNvPr id="207" name="Rectangle 67"/>
          <p:cNvSpPr/>
          <p:nvPr userDrawn="1"/>
        </p:nvSpPr>
        <p:spPr>
          <a:xfrm>
            <a:off x="606025" y="5324052"/>
            <a:ext cx="5022187" cy="285602"/>
          </a:xfrm>
          <a:prstGeom prst="rect">
            <a:avLst/>
          </a:prstGeom>
        </p:spPr>
        <p:txBody>
          <a:bodyPr wrap="square" lIns="115196" tIns="57598" rIns="115196" bIns="57598">
            <a:spAutoFit/>
          </a:bodyPr>
          <a:lstStyle/>
          <a:p>
            <a:r>
              <a:rPr lang="en-US" sz="11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FORMAT</a:t>
            </a:r>
            <a:r>
              <a:rPr lang="en-US"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1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INTER          (On the Home tab, in the Clipboard group).</a:t>
            </a:r>
          </a:p>
        </p:txBody>
      </p:sp>
      <p:sp>
        <p:nvSpPr>
          <p:cNvPr id="208" name="Rectangle 68"/>
          <p:cNvSpPr/>
          <p:nvPr userDrawn="1"/>
        </p:nvSpPr>
        <p:spPr>
          <a:xfrm>
            <a:off x="606025" y="5587529"/>
            <a:ext cx="5346330" cy="793429"/>
          </a:xfrm>
          <a:prstGeom prst="rect">
            <a:avLst/>
          </a:prstGeom>
        </p:spPr>
        <p:txBody>
          <a:bodyPr wrap="square" lIns="115196" tIns="57598" rIns="115196" bIns="57598">
            <a:spAutoFit/>
          </a:bodyPr>
          <a:lstStyle/>
          <a:p>
            <a:r>
              <a:rPr lang="en-US" sz="11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n go to the object you want to color in and click on it. The new object </a:t>
            </a:r>
            <a:br>
              <a:rPr lang="en-US" sz="11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1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w has the new color. The color is only available in the paintbrush one </a:t>
            </a:r>
            <a:br>
              <a:rPr lang="en-US" sz="11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1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me but if you double-click the paint-brush, when you select it, you can </a:t>
            </a:r>
            <a:br>
              <a:rPr lang="en-US" sz="11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1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it on several objects.</a:t>
            </a:r>
          </a:p>
        </p:txBody>
      </p:sp>
      <p:sp>
        <p:nvSpPr>
          <p:cNvPr id="209" name="Rectangle 82"/>
          <p:cNvSpPr/>
          <p:nvPr userDrawn="1"/>
        </p:nvSpPr>
        <p:spPr>
          <a:xfrm>
            <a:off x="606026" y="4661663"/>
            <a:ext cx="4994211" cy="693402"/>
          </a:xfrm>
          <a:prstGeom prst="rect">
            <a:avLst/>
          </a:prstGeom>
        </p:spPr>
        <p:txBody>
          <a:bodyPr wrap="square" lIns="115196" tIns="57598" rIns="115196" bIns="57598">
            <a:spAutoFit/>
          </a:bodyPr>
          <a:lstStyle/>
          <a:p>
            <a:pPr marL="0" indent="0">
              <a:spcBef>
                <a:spcPts val="252"/>
              </a:spcBef>
              <a:buNone/>
            </a:pPr>
            <a:r>
              <a:rPr lang="en-US" sz="1300" b="1" baseline="0">
                <a:solidFill>
                  <a:schemeClr val="tx1"/>
                </a:solidFill>
              </a:rPr>
              <a:t>How to select the colors</a:t>
            </a:r>
          </a:p>
          <a:p>
            <a:pPr marL="0" marR="0" indent="0" algn="l" defTabSz="1151912" rtl="0" eaLnBrk="1" fontAlgn="auto" latinLnBrk="0" hangingPunct="1">
              <a:lnSpc>
                <a:spcPct val="100000"/>
              </a:lnSpc>
              <a:spcBef>
                <a:spcPts val="25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aseline="0">
                <a:solidFill>
                  <a:schemeClr val="tx1"/>
                </a:solidFill>
              </a:rPr>
              <a:t>Select a color by clicking on the </a:t>
            </a:r>
            <a:r>
              <a:rPr lang="en-US" sz="1100" b="1" baseline="0">
                <a:solidFill>
                  <a:schemeClr val="tx1"/>
                </a:solidFill>
              </a:rPr>
              <a:t>dotted frame </a:t>
            </a:r>
            <a:r>
              <a:rPr lang="en-US" sz="1100" baseline="0">
                <a:solidFill>
                  <a:schemeClr val="tx1"/>
                </a:solidFill>
              </a:rPr>
              <a:t>of the colored circle. </a:t>
            </a:r>
            <a:br>
              <a:rPr lang="en-US" sz="1100" baseline="0">
                <a:solidFill>
                  <a:schemeClr val="tx1"/>
                </a:solidFill>
              </a:rPr>
            </a:br>
            <a:r>
              <a:rPr lang="en-US" sz="1100" baseline="0">
                <a:solidFill>
                  <a:schemeClr val="tx1"/>
                </a:solidFill>
              </a:rPr>
              <a:t>Click when the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baseline="0">
                <a:solidFill>
                  <a:schemeClr val="tx1"/>
                </a:solidFill>
              </a:rPr>
              <a:t>curser looks like a cross.</a:t>
            </a:r>
          </a:p>
        </p:txBody>
      </p:sp>
      <p:pic>
        <p:nvPicPr>
          <p:cNvPr id="210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0" t="9051" r="95893" b="88688"/>
          <a:stretch/>
        </p:blipFill>
        <p:spPr bwMode="auto">
          <a:xfrm>
            <a:off x="2371663" y="5329497"/>
            <a:ext cx="271662" cy="27668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14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8780793" y="2918593"/>
            <a:ext cx="317495" cy="317489"/>
          </a:xfrm>
          <a:prstGeom prst="ellipse">
            <a:avLst/>
          </a:prstGeom>
          <a:solidFill>
            <a:srgbClr val="47962D"/>
          </a:solidFill>
        </p:spPr>
        <p:txBody>
          <a:bodyPr anchor="ctr" anchorCtr="1">
            <a:noAutofit/>
          </a:bodyPr>
          <a:lstStyle>
            <a:lvl1pPr marL="231982" indent="-231982">
              <a:buFontTx/>
              <a:buNone/>
              <a:defRPr lang="en-US" smtClean="0">
                <a:solidFill>
                  <a:schemeClr val="tx1"/>
                </a:solidFill>
              </a:defRPr>
            </a:lvl1pPr>
          </a:lstStyle>
          <a:p>
            <a:pPr marL="0" lvl="0" indent="0" algn="ctr"/>
            <a:r>
              <a:rPr lang="en-US"/>
              <a:t> </a:t>
            </a:r>
          </a:p>
        </p:txBody>
      </p:sp>
      <p:sp>
        <p:nvSpPr>
          <p:cNvPr id="215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8780793" y="3341462"/>
            <a:ext cx="317495" cy="317489"/>
          </a:xfrm>
          <a:prstGeom prst="ellipse">
            <a:avLst/>
          </a:prstGeom>
          <a:solidFill>
            <a:srgbClr val="F7D302"/>
          </a:solidFill>
        </p:spPr>
        <p:txBody>
          <a:bodyPr anchor="ctr" anchorCtr="1">
            <a:noAutofit/>
          </a:bodyPr>
          <a:lstStyle>
            <a:lvl1pPr marL="231982" indent="-231982">
              <a:buFontTx/>
              <a:buNone/>
              <a:defRPr lang="en-US" smtClean="0">
                <a:solidFill>
                  <a:schemeClr val="tx1"/>
                </a:solidFill>
              </a:defRPr>
            </a:lvl1pPr>
          </a:lstStyle>
          <a:p>
            <a:pPr marL="0" lvl="0" indent="0" algn="ctr"/>
            <a:r>
              <a:rPr lang="en-US"/>
              <a:t> </a:t>
            </a:r>
          </a:p>
        </p:txBody>
      </p:sp>
      <p:sp>
        <p:nvSpPr>
          <p:cNvPr id="216" name="Text Placeholder 5"/>
          <p:cNvSpPr>
            <a:spLocks noGrp="1"/>
          </p:cNvSpPr>
          <p:nvPr>
            <p:ph type="body" sz="quarter" idx="30" hasCustomPrompt="1"/>
          </p:nvPr>
        </p:nvSpPr>
        <p:spPr>
          <a:xfrm>
            <a:off x="8780793" y="3764329"/>
            <a:ext cx="317495" cy="317489"/>
          </a:xfrm>
          <a:prstGeom prst="ellipse">
            <a:avLst/>
          </a:prstGeom>
          <a:solidFill>
            <a:srgbClr val="C4001A"/>
          </a:solidFill>
        </p:spPr>
        <p:txBody>
          <a:bodyPr anchor="ctr" anchorCtr="1">
            <a:noAutofit/>
          </a:bodyPr>
          <a:lstStyle>
            <a:lvl1pPr marL="231982" indent="-231982">
              <a:buFontTx/>
              <a:buNone/>
              <a:defRPr lang="en-US" smtClean="0">
                <a:solidFill>
                  <a:schemeClr val="tx1"/>
                </a:solidFill>
              </a:defRPr>
            </a:lvl1pPr>
          </a:lstStyle>
          <a:p>
            <a:pPr marL="0" lvl="0" indent="0" algn="ctr"/>
            <a:r>
              <a:rPr lang="en-US"/>
              <a:t> </a:t>
            </a:r>
          </a:p>
        </p:txBody>
      </p:sp>
      <p:sp>
        <p:nvSpPr>
          <p:cNvPr id="84" name="Rectangle 80"/>
          <p:cNvSpPr/>
          <p:nvPr userDrawn="1"/>
        </p:nvSpPr>
        <p:spPr>
          <a:xfrm>
            <a:off x="6040259" y="906552"/>
            <a:ext cx="2960125" cy="2955624"/>
          </a:xfrm>
          <a:prstGeom prst="rect">
            <a:avLst/>
          </a:prstGeom>
        </p:spPr>
        <p:txBody>
          <a:bodyPr wrap="square" lIns="115196" tIns="57598" rIns="115196" bIns="57598">
            <a:spAutoFit/>
          </a:bodyPr>
          <a:lstStyle/>
          <a:p>
            <a:pPr marL="0" indent="0">
              <a:spcBef>
                <a:spcPts val="252"/>
              </a:spcBef>
              <a:buNone/>
            </a:pPr>
            <a:r>
              <a:rPr lang="en-US" sz="1300" b="1" baseline="0">
                <a:solidFill>
                  <a:schemeClr val="tx1"/>
                </a:solidFill>
              </a:rPr>
              <a:t>Accent colors</a:t>
            </a:r>
          </a:p>
          <a:p>
            <a:pPr>
              <a:lnSpc>
                <a:spcPts val="1386"/>
              </a:lnSpc>
              <a:spcBef>
                <a:spcPts val="252"/>
              </a:spcBef>
            </a:pPr>
            <a:r>
              <a:rPr lang="sv-SE" sz="1100">
                <a:solidFill>
                  <a:schemeClr val="tx1"/>
                </a:solidFill>
              </a:rPr>
              <a:t>Use each color in 100% and only to </a:t>
            </a:r>
            <a:br>
              <a:rPr lang="sv-SE" sz="1100">
                <a:solidFill>
                  <a:schemeClr val="tx1"/>
                </a:solidFill>
              </a:rPr>
            </a:br>
            <a:r>
              <a:rPr lang="sv-SE" sz="1100">
                <a:solidFill>
                  <a:schemeClr val="tx1"/>
                </a:solidFill>
              </a:rPr>
              <a:t>draw attention to a message or a </a:t>
            </a:r>
            <a:br>
              <a:rPr lang="sv-SE" sz="1100">
                <a:solidFill>
                  <a:schemeClr val="tx1"/>
                </a:solidFill>
              </a:rPr>
            </a:br>
            <a:r>
              <a:rPr lang="sv-SE" sz="1100">
                <a:solidFill>
                  <a:schemeClr val="tx1"/>
                </a:solidFill>
              </a:rPr>
              <a:t>specific element. Don’t overuse them </a:t>
            </a:r>
            <a:br>
              <a:rPr lang="sv-SE" sz="1100">
                <a:solidFill>
                  <a:schemeClr val="tx1"/>
                </a:solidFill>
              </a:rPr>
            </a:br>
            <a:r>
              <a:rPr lang="sv-SE" sz="1100">
                <a:solidFill>
                  <a:schemeClr val="tx1"/>
                </a:solidFill>
              </a:rPr>
              <a:t>– the effect will be compromised. </a:t>
            </a:r>
            <a:br>
              <a:rPr lang="sv-SE" sz="1100">
                <a:solidFill>
                  <a:schemeClr val="tx1"/>
                </a:solidFill>
              </a:rPr>
            </a:br>
            <a:r>
              <a:rPr lang="sv-SE" sz="1100">
                <a:solidFill>
                  <a:schemeClr val="tx1"/>
                </a:solidFill>
              </a:rPr>
              <a:t>Accent colors should never be </a:t>
            </a:r>
            <a:br>
              <a:rPr lang="sv-SE" sz="1100">
                <a:solidFill>
                  <a:schemeClr val="tx1"/>
                </a:solidFill>
              </a:rPr>
            </a:br>
            <a:r>
              <a:rPr lang="sv-SE" sz="1100">
                <a:solidFill>
                  <a:schemeClr val="tx1"/>
                </a:solidFill>
              </a:rPr>
              <a:t>used for decorative purposes. And remember to only stick to one color. </a:t>
            </a:r>
            <a:endParaRPr lang="en-US" sz="1300" b="1" baseline="0">
              <a:solidFill>
                <a:schemeClr val="tx1"/>
              </a:solidFill>
            </a:endParaRPr>
          </a:p>
          <a:p>
            <a:endParaRPr lang="sv-SE" sz="13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sv-SE" sz="13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sv-SE" sz="13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gnal colors</a:t>
            </a:r>
          </a:p>
          <a:p>
            <a:pPr>
              <a:lnSpc>
                <a:spcPts val="1386"/>
              </a:lnSpc>
              <a:spcBef>
                <a:spcPts val="252"/>
              </a:spcBef>
            </a:pPr>
            <a:r>
              <a: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signal colors are standard</a:t>
            </a:r>
            <a:r>
              <a:rPr lang="sv-SE" sz="1100" b="0" i="0" u="none" strike="noStrike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lors, </a:t>
            </a:r>
            <a:br>
              <a: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t unique to the Volvo</a:t>
            </a:r>
            <a:r>
              <a:rPr lang="sv-SE" sz="1100" b="0" i="0" u="none" strike="noStrike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rand, and </a:t>
            </a:r>
            <a:br>
              <a: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rve one</a:t>
            </a:r>
            <a:r>
              <a:rPr lang="sv-SE" sz="1100">
                <a:solidFill>
                  <a:schemeClr val="tx1"/>
                </a:solidFill>
              </a:rPr>
              <a:t> </a:t>
            </a:r>
            <a:r>
              <a: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rpose only: To highlight </a:t>
            </a:r>
            <a:br>
              <a: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 feedback</a:t>
            </a:r>
            <a:r>
              <a:rPr lang="sv-SE" sz="1100" b="0" i="0" u="none" strike="noStrike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ssages</a:t>
            </a:r>
            <a:endParaRPr lang="en-US" sz="1100" baseline="0">
              <a:solidFill>
                <a:schemeClr val="tx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98499884"/>
              </p:ext>
            </p:extLst>
          </p:nvPr>
        </p:nvGraphicFramePr>
        <p:xfrm>
          <a:off x="1148375" y="1571440"/>
          <a:ext cx="2029103" cy="2899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99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72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97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522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22251">
                <a:tc>
                  <a:txBody>
                    <a:bodyPr/>
                    <a:lstStyle/>
                    <a:p>
                      <a:r>
                        <a:rPr lang="en-US" sz="1200" b="1" baseline="0">
                          <a:solidFill>
                            <a:schemeClr val="tx1"/>
                          </a:solidFill>
                        </a:rPr>
                        <a:t>Color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 </a:t>
                      </a:r>
                      <a:endParaRPr lang="sv-SE" sz="12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>
                          <a:solidFill>
                            <a:schemeClr val="tx1"/>
                          </a:solidFill>
                        </a:rPr>
                        <a:t>G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>
                          <a:solidFill>
                            <a:schemeClr val="tx1"/>
                          </a:solidFill>
                        </a:rPr>
                        <a:t>B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9725">
                <a:tc>
                  <a:txBody>
                    <a:bodyPr/>
                    <a:lstStyle/>
                    <a:p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NOUGAT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153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129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102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7220">
                <a:tc>
                  <a:txBody>
                    <a:bodyPr/>
                    <a:lstStyle/>
                    <a:p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OXYGEN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186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207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217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4734">
                <a:tc>
                  <a:txBody>
                    <a:bodyPr/>
                    <a:lstStyle/>
                    <a:p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OYSTER</a:t>
                      </a:r>
                      <a:r>
                        <a:rPr lang="en-US" sz="900" baseline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191 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186</a:t>
                      </a: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 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166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4715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LAGOON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160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186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184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9725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BACKDROP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99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96 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91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CONCRETE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143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138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131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83" name="Table 82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068169194"/>
              </p:ext>
            </p:extLst>
          </p:nvPr>
        </p:nvGraphicFramePr>
        <p:xfrm>
          <a:off x="3850232" y="1571440"/>
          <a:ext cx="2029103" cy="2899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99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72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97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522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22251">
                <a:tc>
                  <a:txBody>
                    <a:bodyPr/>
                    <a:lstStyle/>
                    <a:p>
                      <a:r>
                        <a:rPr lang="en-US" sz="1200" b="1" baseline="0">
                          <a:solidFill>
                            <a:schemeClr val="tx1"/>
                          </a:solidFill>
                        </a:rPr>
                        <a:t>Color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 </a:t>
                      </a:r>
                      <a:endParaRPr lang="sv-SE" sz="120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>
                          <a:solidFill>
                            <a:schemeClr val="tx1"/>
                          </a:solidFill>
                        </a:rPr>
                        <a:t>G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>
                          <a:solidFill>
                            <a:schemeClr val="tx1"/>
                          </a:solidFill>
                        </a:rPr>
                        <a:t>B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9725">
                <a:tc>
                  <a:txBody>
                    <a:bodyPr/>
                    <a:lstStyle/>
                    <a:p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WOOL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189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182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175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7220">
                <a:tc>
                  <a:txBody>
                    <a:bodyPr/>
                    <a:lstStyle/>
                    <a:p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CLOUD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232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229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227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4734">
                <a:tc>
                  <a:txBody>
                    <a:bodyPr/>
                    <a:lstStyle/>
                    <a:p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TEAK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99 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70</a:t>
                      </a: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 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50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4715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PETROLEUM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8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8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84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9725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PLUM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105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47 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71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OLIVE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95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88 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38</a:t>
                      </a:r>
                      <a:endParaRPr lang="sv-SE" sz="100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85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421623" y="4113090"/>
            <a:ext cx="317495" cy="317489"/>
          </a:xfrm>
          <a:prstGeom prst="ellipse">
            <a:avLst/>
          </a:prstGeom>
          <a:solidFill>
            <a:srgbClr val="5F5826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19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9350" y="4872759"/>
            <a:ext cx="1647598" cy="1285875"/>
          </a:xfrm>
          <a:prstGeom prst="rect">
            <a:avLst/>
          </a:prstGeom>
        </p:spPr>
      </p:pic>
      <p:cxnSp>
        <p:nvCxnSpPr>
          <p:cNvPr id="88" name="Rak 109"/>
          <p:cNvCxnSpPr/>
          <p:nvPr userDrawn="1"/>
        </p:nvCxnSpPr>
        <p:spPr>
          <a:xfrm>
            <a:off x="9178807" y="4133056"/>
            <a:ext cx="843594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Rak 110"/>
          <p:cNvCxnSpPr/>
          <p:nvPr userDrawn="1"/>
        </p:nvCxnSpPr>
        <p:spPr>
          <a:xfrm>
            <a:off x="10148944" y="4134583"/>
            <a:ext cx="96484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476185" y="4939435"/>
            <a:ext cx="225077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</a:pPr>
            <a:r>
              <a:rPr lang="sv-SE"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</a:t>
            </a:r>
          </a:p>
          <a:p>
            <a:pPr>
              <a:lnSpc>
                <a:spcPts val="1100"/>
              </a:lnSpc>
            </a:pPr>
            <a:endParaRPr lang="sv-SE" sz="1100" kern="120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>
              <a:lnSpc>
                <a:spcPts val="1100"/>
              </a:lnSpc>
            </a:pPr>
            <a:endParaRPr lang="sv-SE" sz="1100" kern="120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>
              <a:lnSpc>
                <a:spcPts val="1100"/>
              </a:lnSpc>
            </a:pPr>
            <a:r>
              <a:rPr lang="sv-SE"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</a:t>
            </a:r>
          </a:p>
          <a:p>
            <a:pPr>
              <a:lnSpc>
                <a:spcPts val="1100"/>
              </a:lnSpc>
            </a:pPr>
            <a:endParaRPr lang="sv-SE" sz="1100" kern="120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>
              <a:lnSpc>
                <a:spcPts val="1100"/>
              </a:lnSpc>
            </a:pPr>
            <a:r>
              <a:rPr lang="sv-SE"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2913020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EASE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1"/>
            <a:ext cx="11520488" cy="6471535"/>
          </a:xfrm>
          <a:prstGeom prst="rect">
            <a:avLst/>
          </a:prstGeom>
          <a:solidFill>
            <a:schemeClr val="bg1"/>
          </a:solidFill>
          <a:ln w="3175"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15196" tIns="57598" rIns="115196" bIns="575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sz="1905"/>
          </a:p>
        </p:txBody>
      </p:sp>
      <p:sp>
        <p:nvSpPr>
          <p:cNvPr id="4" name="TextBox 3"/>
          <p:cNvSpPr txBox="1"/>
          <p:nvPr userDrawn="1"/>
        </p:nvSpPr>
        <p:spPr>
          <a:xfrm>
            <a:off x="1" y="906463"/>
            <a:ext cx="11520487" cy="4658077"/>
          </a:xfrm>
          <a:prstGeom prst="rect">
            <a:avLst/>
          </a:prstGeom>
          <a:noFill/>
        </p:spPr>
        <p:txBody>
          <a:bodyPr wrap="square" lIns="115196" tIns="57598" rIns="115196" bIns="57598" rtlCol="0">
            <a:spAutoFit/>
          </a:bodyPr>
          <a:lstStyle/>
          <a:p>
            <a:pPr algn="ctr">
              <a:spcBef>
                <a:spcPts val="2268"/>
              </a:spcBef>
            </a:pPr>
            <a:r>
              <a:rPr lang="en-US" sz="6899" kern="1200">
                <a:solidFill>
                  <a:srgbClr val="C4001A"/>
                </a:solidFill>
                <a:latin typeface="+mn-lt"/>
                <a:ea typeface="+mn-ea"/>
                <a:cs typeface="+mn-cs"/>
              </a:rPr>
              <a:t>NOTE:</a:t>
            </a:r>
          </a:p>
          <a:p>
            <a:pPr algn="ctr">
              <a:spcBef>
                <a:spcPts val="2268"/>
              </a:spcBef>
            </a:pPr>
            <a:r>
              <a:rPr lang="en-US" sz="6899" kern="1200">
                <a:solidFill>
                  <a:srgbClr val="C4001A"/>
                </a:solidFill>
                <a:latin typeface="+mn-lt"/>
                <a:ea typeface="+mn-ea"/>
                <a:cs typeface="+mn-cs"/>
              </a:rPr>
              <a:t>Layouts after this slide</a:t>
            </a:r>
            <a:br>
              <a:rPr lang="en-US" sz="6899" kern="1200">
                <a:solidFill>
                  <a:srgbClr val="C4001A"/>
                </a:solidFill>
                <a:latin typeface="+mn-lt"/>
                <a:ea typeface="+mn-ea"/>
                <a:cs typeface="+mn-cs"/>
              </a:rPr>
            </a:br>
            <a:r>
              <a:rPr lang="en-US" sz="6899" kern="1200">
                <a:solidFill>
                  <a:srgbClr val="C4001A"/>
                </a:solidFill>
                <a:latin typeface="+mn-lt"/>
                <a:ea typeface="+mn-ea"/>
                <a:cs typeface="+mn-cs"/>
              </a:rPr>
              <a:t> are not</a:t>
            </a:r>
            <a:r>
              <a:rPr lang="en-US" sz="6899" kern="1200" baseline="0">
                <a:solidFill>
                  <a:srgbClr val="C4001A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6899" kern="1200">
                <a:solidFill>
                  <a:srgbClr val="C4001A"/>
                </a:solidFill>
                <a:latin typeface="+mn-lt"/>
                <a:ea typeface="+mn-ea"/>
                <a:cs typeface="+mn-cs"/>
              </a:rPr>
              <a:t>Volvo Group corporate brand layouts.</a:t>
            </a:r>
          </a:p>
        </p:txBody>
      </p:sp>
    </p:spTree>
    <p:extLst>
      <p:ext uri="{BB962C8B-B14F-4D97-AF65-F5344CB8AC3E}">
        <p14:creationId xmlns:p14="http://schemas.microsoft.com/office/powerpoint/2010/main" val="34162635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/>
              <a:t>Titelmasterformat</a:t>
            </a:r>
            <a:r>
              <a:rPr lang="en-GB"/>
              <a:t> </a:t>
            </a:r>
            <a:r>
              <a:rPr lang="en-GB" err="1"/>
              <a:t>durch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err="1"/>
              <a:t>Textmaster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0B8CF-96E9-46DE-9D21-CC21359AEA9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>
          <a:xfrm>
            <a:off x="927441" y="6148422"/>
            <a:ext cx="2861402" cy="198437"/>
          </a:xfrm>
        </p:spPr>
        <p:txBody>
          <a:bodyPr/>
          <a:lstStyle>
            <a:lvl1pPr>
              <a:defRPr/>
            </a:lvl1pPr>
          </a:lstStyle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699885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9709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ens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977CA0B7-C0DD-A782-5E27-845B66635A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66085" y="439200"/>
            <a:ext cx="2526315" cy="8640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-36957" y="1713677"/>
            <a:ext cx="11574653" cy="4798312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E321C5F5-46FC-6540-B2A7-DE4927D265DE}"/>
              </a:ext>
            </a:extLst>
          </p:cNvPr>
          <p:cNvSpPr/>
          <p:nvPr userDrawn="1"/>
        </p:nvSpPr>
        <p:spPr>
          <a:xfrm>
            <a:off x="9660" y="1713677"/>
            <a:ext cx="5920641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20000" y="3294000"/>
            <a:ext cx="7719807" cy="405560"/>
          </a:xfrm>
        </p:spPr>
        <p:txBody>
          <a:bodyPr anchor="t"/>
          <a:lstStyle>
            <a:lvl1pPr algn="l">
              <a:lnSpc>
                <a:spcPct val="110000"/>
              </a:lnSpc>
              <a:defRPr sz="2600" b="0" cap="none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0" y="4403834"/>
            <a:ext cx="5286407" cy="923816"/>
          </a:xfrm>
        </p:spPr>
        <p:txBody>
          <a:bodyPr>
            <a:normAutofit/>
          </a:bodyPr>
          <a:lstStyle>
            <a:lvl1pPr marL="0" indent="0" algn="l">
              <a:spcAft>
                <a:spcPts val="800"/>
              </a:spcAft>
              <a:buNone/>
              <a:defRPr sz="1800">
                <a:solidFill>
                  <a:schemeClr val="bg1"/>
                </a:solidFill>
              </a:defRPr>
            </a:lvl1pPr>
            <a:lvl2pPr marL="431992" indent="0" algn="ctr">
              <a:buNone/>
              <a:defRPr sz="1890"/>
            </a:lvl2pPr>
            <a:lvl3pPr marL="863985" indent="0" algn="ctr">
              <a:buNone/>
              <a:defRPr sz="1701"/>
            </a:lvl3pPr>
            <a:lvl4pPr marL="1295977" indent="0" algn="ctr">
              <a:buNone/>
              <a:defRPr sz="1512"/>
            </a:lvl4pPr>
            <a:lvl5pPr marL="1727969" indent="0" algn="ctr">
              <a:buNone/>
              <a:defRPr sz="1512"/>
            </a:lvl5pPr>
            <a:lvl6pPr marL="2159961" indent="0" algn="ctr">
              <a:buNone/>
              <a:defRPr sz="1512"/>
            </a:lvl6pPr>
            <a:lvl7pPr marL="2591954" indent="0" algn="ctr">
              <a:buNone/>
              <a:defRPr sz="1512"/>
            </a:lvl7pPr>
            <a:lvl8pPr marL="3023946" indent="0" algn="ctr">
              <a:buNone/>
              <a:defRPr sz="1512"/>
            </a:lvl8pPr>
            <a:lvl9pPr marL="3455939" indent="0" algn="ctr">
              <a:buNone/>
              <a:defRPr sz="1512"/>
            </a:lvl9pPr>
          </a:lstStyle>
          <a:p>
            <a:r>
              <a:rPr lang="de-DE" dirty="0"/>
              <a:t>Formatvorlage des Untertitelmasters durch Klicken bearbeiten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9526588" y="5538788"/>
            <a:ext cx="1666875" cy="557212"/>
          </a:xfr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de-DE" dirty="0"/>
              <a:t>Partner Logo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0FB68CB-6E5E-3E86-E37A-99B48F640E14}"/>
              </a:ext>
            </a:extLst>
          </p:cNvPr>
          <p:cNvSpPr txBox="1"/>
          <p:nvPr userDrawn="1"/>
        </p:nvSpPr>
        <p:spPr>
          <a:xfrm rot="16200000">
            <a:off x="11143790" y="3231613"/>
            <a:ext cx="55175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700" b="0" i="0" kern="1200" dirty="0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+mn-lt"/>
                <a:ea typeface="+mn-ea"/>
                <a:cs typeface="+mn-cs"/>
              </a:rPr>
              <a:t>© Adobe</a:t>
            </a:r>
            <a:endParaRPr lang="en-DE" sz="7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01ED600-E798-914F-8956-F57D3D6819BA}"/>
              </a:ext>
            </a:extLst>
          </p:cNvPr>
          <p:cNvSpPr/>
          <p:nvPr userDrawn="1"/>
        </p:nvSpPr>
        <p:spPr>
          <a:xfrm>
            <a:off x="4899246" y="1448235"/>
            <a:ext cx="432000" cy="9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DEEFFE5-596F-3F41-A960-CFB4CAD8361A}"/>
              </a:ext>
            </a:extLst>
          </p:cNvPr>
          <p:cNvSpPr/>
          <p:nvPr userDrawn="1"/>
        </p:nvSpPr>
        <p:spPr>
          <a:xfrm>
            <a:off x="2527042" y="1959214"/>
            <a:ext cx="432000" cy="9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0C7099A-8B61-7743-A960-5C3B276506C1}"/>
              </a:ext>
            </a:extLst>
          </p:cNvPr>
          <p:cNvSpPr/>
          <p:nvPr userDrawn="1"/>
        </p:nvSpPr>
        <p:spPr>
          <a:xfrm>
            <a:off x="5574407" y="1567650"/>
            <a:ext cx="432000" cy="9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9F5014C-FE5B-A844-8C3F-4860A59A9CB7}"/>
              </a:ext>
            </a:extLst>
          </p:cNvPr>
          <p:cNvSpPr/>
          <p:nvPr userDrawn="1"/>
        </p:nvSpPr>
        <p:spPr>
          <a:xfrm>
            <a:off x="7703329" y="1979119"/>
            <a:ext cx="432000" cy="90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44E5AACB-5565-5F8D-04A9-9341CCDB1A65}"/>
              </a:ext>
            </a:extLst>
          </p:cNvPr>
          <p:cNvSpPr/>
          <p:nvPr userDrawn="1"/>
        </p:nvSpPr>
        <p:spPr>
          <a:xfrm>
            <a:off x="3186488" y="1713677"/>
            <a:ext cx="1290976" cy="180000"/>
          </a:xfrm>
          <a:custGeom>
            <a:avLst/>
            <a:gdLst>
              <a:gd name="connsiteX0" fmla="*/ 0 w 1290976"/>
              <a:gd name="connsiteY0" fmla="*/ 0 h 180000"/>
              <a:gd name="connsiteX1" fmla="*/ 1290976 w 1290976"/>
              <a:gd name="connsiteY1" fmla="*/ 0 h 180000"/>
              <a:gd name="connsiteX2" fmla="*/ 1290976 w 1290976"/>
              <a:gd name="connsiteY2" fmla="*/ 180000 h 180000"/>
              <a:gd name="connsiteX3" fmla="*/ 432000 w 1290976"/>
              <a:gd name="connsiteY3" fmla="*/ 180000 h 180000"/>
              <a:gd name="connsiteX4" fmla="*/ 432000 w 1290976"/>
              <a:gd name="connsiteY4" fmla="*/ 90000 h 180000"/>
              <a:gd name="connsiteX5" fmla="*/ 0 w 1290976"/>
              <a:gd name="connsiteY5" fmla="*/ 90000 h 1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0976" h="180000">
                <a:moveTo>
                  <a:pt x="0" y="0"/>
                </a:moveTo>
                <a:lnTo>
                  <a:pt x="1290976" y="0"/>
                </a:lnTo>
                <a:lnTo>
                  <a:pt x="1290976" y="180000"/>
                </a:lnTo>
                <a:lnTo>
                  <a:pt x="432000" y="180000"/>
                </a:lnTo>
                <a:lnTo>
                  <a:pt x="432000" y="90000"/>
                </a:lnTo>
                <a:lnTo>
                  <a:pt x="0" y="90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DE"/>
          </a:p>
        </p:txBody>
      </p:sp>
      <p:sp>
        <p:nvSpPr>
          <p:cNvPr id="42" name="Freeform 41">
            <a:extLst>
              <a:ext uri="{FF2B5EF4-FFF2-40B4-BE49-F238E27FC236}">
                <a16:creationId xmlns:a16="http://schemas.microsoft.com/office/drawing/2014/main" id="{FE5DAF73-1478-7131-A481-7121829B3A80}"/>
              </a:ext>
            </a:extLst>
          </p:cNvPr>
          <p:cNvSpPr/>
          <p:nvPr userDrawn="1"/>
        </p:nvSpPr>
        <p:spPr>
          <a:xfrm>
            <a:off x="7055572" y="1713677"/>
            <a:ext cx="4468091" cy="180000"/>
          </a:xfrm>
          <a:custGeom>
            <a:avLst/>
            <a:gdLst>
              <a:gd name="connsiteX0" fmla="*/ 0 w 4468091"/>
              <a:gd name="connsiteY0" fmla="*/ 0 h 180000"/>
              <a:gd name="connsiteX1" fmla="*/ 4468091 w 4468091"/>
              <a:gd name="connsiteY1" fmla="*/ 0 h 180000"/>
              <a:gd name="connsiteX2" fmla="*/ 4468091 w 4468091"/>
              <a:gd name="connsiteY2" fmla="*/ 180000 h 180000"/>
              <a:gd name="connsiteX3" fmla="*/ 1877674 w 4468091"/>
              <a:gd name="connsiteY3" fmla="*/ 180000 h 180000"/>
              <a:gd name="connsiteX4" fmla="*/ 1575877 w 4468091"/>
              <a:gd name="connsiteY4" fmla="*/ 180000 h 180000"/>
              <a:gd name="connsiteX5" fmla="*/ 1445674 w 4468091"/>
              <a:gd name="connsiteY5" fmla="*/ 180000 h 180000"/>
              <a:gd name="connsiteX6" fmla="*/ 1445674 w 4468091"/>
              <a:gd name="connsiteY6" fmla="*/ 90000 h 180000"/>
              <a:gd name="connsiteX7" fmla="*/ 1013272 w 4468091"/>
              <a:gd name="connsiteY7" fmla="*/ 90000 h 180000"/>
              <a:gd name="connsiteX8" fmla="*/ 1013272 w 4468091"/>
              <a:gd name="connsiteY8" fmla="*/ 108124 h 180000"/>
              <a:gd name="connsiteX9" fmla="*/ 1012938 w 4468091"/>
              <a:gd name="connsiteY9" fmla="*/ 108124 h 180000"/>
              <a:gd name="connsiteX10" fmla="*/ 1012938 w 4468091"/>
              <a:gd name="connsiteY10" fmla="*/ 180000 h 180000"/>
              <a:gd name="connsiteX11" fmla="*/ 0 w 4468091"/>
              <a:gd name="connsiteY11" fmla="*/ 180000 h 1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468091" h="180000">
                <a:moveTo>
                  <a:pt x="0" y="0"/>
                </a:moveTo>
                <a:lnTo>
                  <a:pt x="4468091" y="0"/>
                </a:lnTo>
                <a:lnTo>
                  <a:pt x="4468091" y="180000"/>
                </a:lnTo>
                <a:lnTo>
                  <a:pt x="1877674" y="180000"/>
                </a:lnTo>
                <a:lnTo>
                  <a:pt x="1575877" y="180000"/>
                </a:lnTo>
                <a:lnTo>
                  <a:pt x="1445674" y="180000"/>
                </a:lnTo>
                <a:lnTo>
                  <a:pt x="1445674" y="90000"/>
                </a:lnTo>
                <a:lnTo>
                  <a:pt x="1013272" y="90000"/>
                </a:lnTo>
                <a:lnTo>
                  <a:pt x="1013272" y="108124"/>
                </a:lnTo>
                <a:lnTo>
                  <a:pt x="1012938" y="108124"/>
                </a:lnTo>
                <a:lnTo>
                  <a:pt x="1012938" y="180000"/>
                </a:lnTo>
                <a:lnTo>
                  <a:pt x="0" y="180000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DE" dirty="0"/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DC9E42AA-98E4-2FB6-4A8B-4A4270C18D67}"/>
              </a:ext>
            </a:extLst>
          </p:cNvPr>
          <p:cNvSpPr/>
          <p:nvPr userDrawn="1"/>
        </p:nvSpPr>
        <p:spPr>
          <a:xfrm>
            <a:off x="4476286" y="1713677"/>
            <a:ext cx="1296000" cy="180000"/>
          </a:xfrm>
          <a:custGeom>
            <a:avLst/>
            <a:gdLst>
              <a:gd name="connsiteX0" fmla="*/ 0 w 1296000"/>
              <a:gd name="connsiteY0" fmla="*/ 0 h 180000"/>
              <a:gd name="connsiteX1" fmla="*/ 1296000 w 1296000"/>
              <a:gd name="connsiteY1" fmla="*/ 0 h 180000"/>
              <a:gd name="connsiteX2" fmla="*/ 1296000 w 1296000"/>
              <a:gd name="connsiteY2" fmla="*/ 180000 h 180000"/>
              <a:gd name="connsiteX3" fmla="*/ 1164285 w 1296000"/>
              <a:gd name="connsiteY3" fmla="*/ 180000 h 180000"/>
              <a:gd name="connsiteX4" fmla="*/ 1164285 w 1296000"/>
              <a:gd name="connsiteY4" fmla="*/ 90000 h 180000"/>
              <a:gd name="connsiteX5" fmla="*/ 732285 w 1296000"/>
              <a:gd name="connsiteY5" fmla="*/ 90000 h 180000"/>
              <a:gd name="connsiteX6" fmla="*/ 732285 w 1296000"/>
              <a:gd name="connsiteY6" fmla="*/ 180000 h 180000"/>
              <a:gd name="connsiteX7" fmla="*/ 0 w 1296000"/>
              <a:gd name="connsiteY7" fmla="*/ 180000 h 180000"/>
              <a:gd name="connsiteX8" fmla="*/ 0 w 1296000"/>
              <a:gd name="connsiteY8" fmla="*/ 0 h 1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96000" h="180000">
                <a:moveTo>
                  <a:pt x="0" y="0"/>
                </a:moveTo>
                <a:lnTo>
                  <a:pt x="1296000" y="0"/>
                </a:lnTo>
                <a:lnTo>
                  <a:pt x="1296000" y="180000"/>
                </a:lnTo>
                <a:lnTo>
                  <a:pt x="1164285" y="180000"/>
                </a:lnTo>
                <a:lnTo>
                  <a:pt x="1164285" y="90000"/>
                </a:lnTo>
                <a:lnTo>
                  <a:pt x="732285" y="90000"/>
                </a:lnTo>
                <a:lnTo>
                  <a:pt x="732285" y="180000"/>
                </a:lnTo>
                <a:lnTo>
                  <a:pt x="0" y="180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DE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FE834C92-A339-EF4D-F314-5917EBF0FD2B}"/>
              </a:ext>
            </a:extLst>
          </p:cNvPr>
          <p:cNvSpPr/>
          <p:nvPr userDrawn="1"/>
        </p:nvSpPr>
        <p:spPr>
          <a:xfrm>
            <a:off x="5760665" y="1713677"/>
            <a:ext cx="1295328" cy="180000"/>
          </a:xfrm>
          <a:custGeom>
            <a:avLst/>
            <a:gdLst>
              <a:gd name="connsiteX0" fmla="*/ 0 w 1295328"/>
              <a:gd name="connsiteY0" fmla="*/ 0 h 180000"/>
              <a:gd name="connsiteX1" fmla="*/ 518350 w 1295328"/>
              <a:gd name="connsiteY1" fmla="*/ 0 h 180000"/>
              <a:gd name="connsiteX2" fmla="*/ 518350 w 1295328"/>
              <a:gd name="connsiteY2" fmla="*/ 90000 h 180000"/>
              <a:gd name="connsiteX3" fmla="*/ 950350 w 1295328"/>
              <a:gd name="connsiteY3" fmla="*/ 90000 h 180000"/>
              <a:gd name="connsiteX4" fmla="*/ 950350 w 1295328"/>
              <a:gd name="connsiteY4" fmla="*/ 0 h 180000"/>
              <a:gd name="connsiteX5" fmla="*/ 1295328 w 1295328"/>
              <a:gd name="connsiteY5" fmla="*/ 0 h 180000"/>
              <a:gd name="connsiteX6" fmla="*/ 1295328 w 1295328"/>
              <a:gd name="connsiteY6" fmla="*/ 180000 h 180000"/>
              <a:gd name="connsiteX7" fmla="*/ 0 w 1295328"/>
              <a:gd name="connsiteY7" fmla="*/ 180000 h 180000"/>
              <a:gd name="connsiteX8" fmla="*/ 0 w 1295328"/>
              <a:gd name="connsiteY8" fmla="*/ 0 h 1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95328" h="180000">
                <a:moveTo>
                  <a:pt x="0" y="0"/>
                </a:moveTo>
                <a:lnTo>
                  <a:pt x="518350" y="0"/>
                </a:lnTo>
                <a:lnTo>
                  <a:pt x="518350" y="90000"/>
                </a:lnTo>
                <a:lnTo>
                  <a:pt x="950350" y="90000"/>
                </a:lnTo>
                <a:lnTo>
                  <a:pt x="950350" y="0"/>
                </a:lnTo>
                <a:lnTo>
                  <a:pt x="1295328" y="0"/>
                </a:lnTo>
                <a:lnTo>
                  <a:pt x="1295328" y="180000"/>
                </a:lnTo>
                <a:lnTo>
                  <a:pt x="0" y="180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DE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014E1DB-B0D0-66C1-0BA6-AC2D4806B632}"/>
              </a:ext>
            </a:extLst>
          </p:cNvPr>
          <p:cNvSpPr/>
          <p:nvPr userDrawn="1"/>
        </p:nvSpPr>
        <p:spPr>
          <a:xfrm>
            <a:off x="1663042" y="1805479"/>
            <a:ext cx="432000" cy="9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753EE13-C3F3-98C1-8BC3-8F55195893FA}"/>
              </a:ext>
            </a:extLst>
          </p:cNvPr>
          <p:cNvSpPr/>
          <p:nvPr userDrawn="1"/>
        </p:nvSpPr>
        <p:spPr>
          <a:xfrm>
            <a:off x="1382865" y="1536778"/>
            <a:ext cx="432000" cy="9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602449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06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63B26D5E-F4E0-54FB-B5C7-DBF5FDDED233}"/>
              </a:ext>
            </a:extLst>
          </p:cNvPr>
          <p:cNvSpPr/>
          <p:nvPr userDrawn="1"/>
        </p:nvSpPr>
        <p:spPr>
          <a:xfrm>
            <a:off x="7127875" y="2761449"/>
            <a:ext cx="4392613" cy="374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800"/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B886FF14-0172-F3FA-A682-85518217C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27875" y="-3186"/>
            <a:ext cx="4392613" cy="2854874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C72CFAB0-B7B6-6EB7-7D19-58A4FD0E044E}"/>
              </a:ext>
            </a:extLst>
          </p:cNvPr>
          <p:cNvSpPr/>
          <p:nvPr userDrawn="1"/>
        </p:nvSpPr>
        <p:spPr>
          <a:xfrm>
            <a:off x="-6349" y="2761449"/>
            <a:ext cx="7134486" cy="374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800"/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803A900C-2476-598F-1B2D-DDB79A1F0D2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49" y="-2972"/>
            <a:ext cx="7134486" cy="2771787"/>
          </a:xfrm>
          <a:prstGeom prst="rect">
            <a:avLst/>
          </a:prstGeom>
        </p:spPr>
      </p:pic>
      <p:sp>
        <p:nvSpPr>
          <p:cNvPr id="49" name="Rechteck 4">
            <a:extLst>
              <a:ext uri="{FF2B5EF4-FFF2-40B4-BE49-F238E27FC236}">
                <a16:creationId xmlns:a16="http://schemas.microsoft.com/office/drawing/2014/main" id="{C2801776-3CA7-A533-DB8A-15417699E704}"/>
              </a:ext>
            </a:extLst>
          </p:cNvPr>
          <p:cNvSpPr/>
          <p:nvPr userDrawn="1"/>
        </p:nvSpPr>
        <p:spPr>
          <a:xfrm>
            <a:off x="720001" y="3240000"/>
            <a:ext cx="4363246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800">
                <a:solidFill>
                  <a:schemeClr val="bg1"/>
                </a:solidFill>
              </a:rPr>
              <a:t>THANK YOU FOR</a:t>
            </a:r>
          </a:p>
          <a:p>
            <a:r>
              <a:rPr lang="en-US" sz="2800">
                <a:solidFill>
                  <a:schemeClr val="bg1"/>
                </a:solidFill>
              </a:rPr>
              <a:t>YOUR KIND ATTENTION.</a:t>
            </a:r>
          </a:p>
        </p:txBody>
      </p:sp>
      <p:sp>
        <p:nvSpPr>
          <p:cNvPr id="50" name="Textplatzhalter 18">
            <a:extLst>
              <a:ext uri="{FF2B5EF4-FFF2-40B4-BE49-F238E27FC236}">
                <a16:creationId xmlns:a16="http://schemas.microsoft.com/office/drawing/2014/main" id="{CEAA49EE-BC7B-856E-AE97-73B87EC6DF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1" y="4570417"/>
            <a:ext cx="2700000" cy="97313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64" indent="0">
              <a:buNone/>
              <a:defRPr>
                <a:solidFill>
                  <a:schemeClr val="bg1"/>
                </a:solidFill>
              </a:defRPr>
            </a:lvl2pPr>
            <a:lvl3pPr marL="359928" indent="0">
              <a:buNone/>
              <a:defRPr>
                <a:solidFill>
                  <a:schemeClr val="bg1"/>
                </a:solidFill>
              </a:defRPr>
            </a:lvl3pPr>
            <a:lvl4pPr marL="539891" indent="0">
              <a:buNone/>
              <a:defRPr>
                <a:solidFill>
                  <a:schemeClr val="bg1"/>
                </a:solidFill>
              </a:defRPr>
            </a:lvl4pPr>
            <a:lvl5pPr marL="719855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  <a:endParaRPr lang="en-US"/>
          </a:p>
        </p:txBody>
      </p:sp>
      <p:sp>
        <p:nvSpPr>
          <p:cNvPr id="51" name="Textplatzhalter 18">
            <a:extLst>
              <a:ext uri="{FF2B5EF4-FFF2-40B4-BE49-F238E27FC236}">
                <a16:creationId xmlns:a16="http://schemas.microsoft.com/office/drawing/2014/main" id="{3384B6FB-1C97-0757-60A4-C16CB71A67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88582" y="4565473"/>
            <a:ext cx="2700000" cy="97313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64" indent="0">
              <a:buNone/>
              <a:defRPr>
                <a:solidFill>
                  <a:schemeClr val="bg1"/>
                </a:solidFill>
              </a:defRPr>
            </a:lvl2pPr>
            <a:lvl3pPr marL="359928" indent="0">
              <a:buNone/>
              <a:defRPr>
                <a:solidFill>
                  <a:schemeClr val="bg1"/>
                </a:solidFill>
              </a:defRPr>
            </a:lvl3pPr>
            <a:lvl4pPr marL="539891" indent="0">
              <a:buNone/>
              <a:defRPr>
                <a:solidFill>
                  <a:schemeClr val="bg1"/>
                </a:solidFill>
              </a:defRPr>
            </a:lvl4pPr>
            <a:lvl5pPr marL="719855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2" name="Textfeld 26">
            <a:extLst>
              <a:ext uri="{FF2B5EF4-FFF2-40B4-BE49-F238E27FC236}">
                <a16:creationId xmlns:a16="http://schemas.microsoft.com/office/drawing/2014/main" id="{68366F51-826E-3241-BB2E-17A1B971A654}"/>
              </a:ext>
            </a:extLst>
          </p:cNvPr>
          <p:cNvSpPr txBox="1"/>
          <p:nvPr userDrawn="1"/>
        </p:nvSpPr>
        <p:spPr>
          <a:xfrm>
            <a:off x="792001" y="5928495"/>
            <a:ext cx="5177794" cy="20005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761846"/>
            <a:r>
              <a:rPr lang="en-US" sz="1300" b="0" i="0" u="none" strike="noStrike" kern="1200" baseline="0">
                <a:solidFill>
                  <a:schemeClr val="accent1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rPr>
              <a:t>www.</a:t>
            </a:r>
            <a:r>
              <a:rPr lang="en-US" sz="13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i-Drive.eu   </a:t>
            </a:r>
            <a:r>
              <a:rPr lang="en-US" sz="1300" b="0" i="0" u="none" strike="noStrike" kern="1200" baseline="0">
                <a:solidFill>
                  <a:schemeClr val="accent1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rPr>
              <a:t>Twitter</a:t>
            </a:r>
            <a:r>
              <a:rPr lang="en-US" sz="13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@_</a:t>
            </a:r>
            <a:r>
              <a:rPr lang="en-US" sz="1300" b="0" i="0" u="none" strike="noStrike" kern="1200" baseline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HiDrive</a:t>
            </a:r>
            <a:r>
              <a:rPr lang="en-US" sz="13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_    </a:t>
            </a:r>
            <a:r>
              <a:rPr lang="en-US" sz="1300" b="0" i="0" u="none" strike="noStrike" kern="1200" baseline="0" err="1">
                <a:solidFill>
                  <a:schemeClr val="accent1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rPr>
              <a:t>LinkedIn</a:t>
            </a:r>
            <a:r>
              <a:rPr lang="en-US" sz="1300" b="0" i="0" u="none" strike="noStrike" kern="1200" baseline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Hi</a:t>
            </a:r>
            <a:r>
              <a:rPr lang="en-US" sz="13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-Drive </a:t>
            </a:r>
            <a:endParaRPr lang="en-US" sz="1300">
              <a:solidFill>
                <a:schemeClr val="bg1"/>
              </a:solidFill>
            </a:endParaRPr>
          </a:p>
        </p:txBody>
      </p:sp>
      <p:sp>
        <p:nvSpPr>
          <p:cNvPr id="53" name="Rechteck 28">
            <a:extLst>
              <a:ext uri="{FF2B5EF4-FFF2-40B4-BE49-F238E27FC236}">
                <a16:creationId xmlns:a16="http://schemas.microsoft.com/office/drawing/2014/main" id="{1C03C2EB-0E6D-6F7A-2034-D63F687F838C}"/>
              </a:ext>
            </a:extLst>
          </p:cNvPr>
          <p:cNvSpPr/>
          <p:nvPr userDrawn="1"/>
        </p:nvSpPr>
        <p:spPr>
          <a:xfrm>
            <a:off x="7696201" y="5661783"/>
            <a:ext cx="2720550" cy="4451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9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his project has received funding from the European Union’s Horizon 2020 research and innovation </a:t>
            </a:r>
            <a:r>
              <a:rPr lang="en-US" sz="900" kern="120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programme</a:t>
            </a:r>
            <a:r>
              <a:rPr lang="en-US" sz="9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under grant agreement No 101006664.</a:t>
            </a:r>
          </a:p>
        </p:txBody>
      </p:sp>
      <p:sp>
        <p:nvSpPr>
          <p:cNvPr id="54" name="Rechteck 23">
            <a:extLst>
              <a:ext uri="{FF2B5EF4-FFF2-40B4-BE49-F238E27FC236}">
                <a16:creationId xmlns:a16="http://schemas.microsoft.com/office/drawing/2014/main" id="{A68BE040-3636-539E-C953-A79945C8296C}"/>
              </a:ext>
            </a:extLst>
          </p:cNvPr>
          <p:cNvSpPr/>
          <p:nvPr userDrawn="1"/>
        </p:nvSpPr>
        <p:spPr>
          <a:xfrm>
            <a:off x="10522744" y="5647394"/>
            <a:ext cx="621506" cy="4319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55" name="Inhaltsplatzhalter 4">
            <a:extLst>
              <a:ext uri="{FF2B5EF4-FFF2-40B4-BE49-F238E27FC236}">
                <a16:creationId xmlns:a16="http://schemas.microsoft.com/office/drawing/2014/main" id="{E19ADC73-5992-18FE-F6EC-4E5D2B499A0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1584" y="5676214"/>
            <a:ext cx="561109" cy="374073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C306B928-B957-FDDB-5558-57E7986DA86B}"/>
              </a:ext>
            </a:extLst>
          </p:cNvPr>
          <p:cNvSpPr txBox="1"/>
          <p:nvPr userDrawn="1"/>
        </p:nvSpPr>
        <p:spPr>
          <a:xfrm rot="16200000">
            <a:off x="11095693" y="224732"/>
            <a:ext cx="64953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700" b="0" i="0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Unsplash</a:t>
            </a:r>
            <a:endParaRPr lang="en-DE" sz="7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F821481-2245-F6F0-618A-2AD285038480}"/>
              </a:ext>
            </a:extLst>
          </p:cNvPr>
          <p:cNvSpPr txBox="1"/>
          <p:nvPr userDrawn="1"/>
        </p:nvSpPr>
        <p:spPr>
          <a:xfrm rot="16200000">
            <a:off x="6709690" y="224731"/>
            <a:ext cx="64953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700" b="0" i="0" kern="1200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© Unsplash</a:t>
            </a:r>
            <a:endParaRPr lang="en-DE" sz="700">
              <a:solidFill>
                <a:schemeClr val="accent6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58" name="Graphic 57">
            <a:extLst>
              <a:ext uri="{FF2B5EF4-FFF2-40B4-BE49-F238E27FC236}">
                <a16:creationId xmlns:a16="http://schemas.microsoft.com/office/drawing/2014/main" id="{9F273157-6C9D-7ED3-BCD3-A3488E2D6F0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313000" y="656324"/>
            <a:ext cx="4207489" cy="4991069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064CFB86-CF6B-251F-9C46-1220A020ED69}"/>
              </a:ext>
            </a:extLst>
          </p:cNvPr>
          <p:cNvGrpSpPr/>
          <p:nvPr userDrawn="1"/>
        </p:nvGrpSpPr>
        <p:grpSpPr>
          <a:xfrm>
            <a:off x="1379691" y="2494444"/>
            <a:ext cx="10140798" cy="620884"/>
            <a:chOff x="1379690" y="2497619"/>
            <a:chExt cx="10140798" cy="620884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49A68335-A87D-7C20-54D3-5ADC67F2E654}"/>
                </a:ext>
              </a:extLst>
            </p:cNvPr>
            <p:cNvSpPr/>
            <p:nvPr userDrawn="1"/>
          </p:nvSpPr>
          <p:spPr>
            <a:xfrm>
              <a:off x="4896071" y="2497619"/>
              <a:ext cx="432000" cy="9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sz="1800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2E6AFDF3-F5F4-E2EB-1B7B-54FAD334B5C4}"/>
                </a:ext>
              </a:extLst>
            </p:cNvPr>
            <p:cNvSpPr/>
            <p:nvPr userDrawn="1"/>
          </p:nvSpPr>
          <p:spPr>
            <a:xfrm>
              <a:off x="2523867" y="3008598"/>
              <a:ext cx="432000" cy="9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sz="1800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0A42F6D6-3F26-7106-F2E2-B1E6B674DC98}"/>
                </a:ext>
              </a:extLst>
            </p:cNvPr>
            <p:cNvSpPr/>
            <p:nvPr userDrawn="1"/>
          </p:nvSpPr>
          <p:spPr>
            <a:xfrm>
              <a:off x="5571232" y="2617034"/>
              <a:ext cx="432000" cy="9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sz="1800"/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ADCE8791-B693-5DD7-E3C5-A0F94B972863}"/>
                </a:ext>
              </a:extLst>
            </p:cNvPr>
            <p:cNvSpPr/>
            <p:nvPr userDrawn="1"/>
          </p:nvSpPr>
          <p:spPr>
            <a:xfrm>
              <a:off x="7700154" y="3028503"/>
              <a:ext cx="432000" cy="900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sz="1800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B4DBDAD8-4DC7-91ED-29D5-88DB40EAC499}"/>
                </a:ext>
              </a:extLst>
            </p:cNvPr>
            <p:cNvSpPr/>
            <p:nvPr userDrawn="1"/>
          </p:nvSpPr>
          <p:spPr>
            <a:xfrm>
              <a:off x="3183313" y="2769761"/>
              <a:ext cx="1290976" cy="180000"/>
            </a:xfrm>
            <a:custGeom>
              <a:avLst/>
              <a:gdLst>
                <a:gd name="connsiteX0" fmla="*/ 0 w 1290976"/>
                <a:gd name="connsiteY0" fmla="*/ 0 h 180000"/>
                <a:gd name="connsiteX1" fmla="*/ 1290976 w 1290976"/>
                <a:gd name="connsiteY1" fmla="*/ 0 h 180000"/>
                <a:gd name="connsiteX2" fmla="*/ 1290976 w 1290976"/>
                <a:gd name="connsiteY2" fmla="*/ 180000 h 180000"/>
                <a:gd name="connsiteX3" fmla="*/ 432000 w 1290976"/>
                <a:gd name="connsiteY3" fmla="*/ 180000 h 180000"/>
                <a:gd name="connsiteX4" fmla="*/ 432000 w 1290976"/>
                <a:gd name="connsiteY4" fmla="*/ 90000 h 180000"/>
                <a:gd name="connsiteX5" fmla="*/ 0 w 1290976"/>
                <a:gd name="connsiteY5" fmla="*/ 9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0976" h="180000">
                  <a:moveTo>
                    <a:pt x="0" y="0"/>
                  </a:moveTo>
                  <a:lnTo>
                    <a:pt x="1290976" y="0"/>
                  </a:lnTo>
                  <a:lnTo>
                    <a:pt x="1290976" y="180000"/>
                  </a:lnTo>
                  <a:lnTo>
                    <a:pt x="432000" y="180000"/>
                  </a:lnTo>
                  <a:lnTo>
                    <a:pt x="432000" y="90000"/>
                  </a:lnTo>
                  <a:lnTo>
                    <a:pt x="0" y="900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 sz="1800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884AE187-4122-FB37-2FF3-8693ACDC0E0B}"/>
                </a:ext>
              </a:extLst>
            </p:cNvPr>
            <p:cNvSpPr/>
            <p:nvPr userDrawn="1"/>
          </p:nvSpPr>
          <p:spPr>
            <a:xfrm>
              <a:off x="7052397" y="2769761"/>
              <a:ext cx="4468091" cy="180000"/>
            </a:xfrm>
            <a:custGeom>
              <a:avLst/>
              <a:gdLst>
                <a:gd name="connsiteX0" fmla="*/ 0 w 4468091"/>
                <a:gd name="connsiteY0" fmla="*/ 0 h 180000"/>
                <a:gd name="connsiteX1" fmla="*/ 4468091 w 4468091"/>
                <a:gd name="connsiteY1" fmla="*/ 0 h 180000"/>
                <a:gd name="connsiteX2" fmla="*/ 4468091 w 4468091"/>
                <a:gd name="connsiteY2" fmla="*/ 180000 h 180000"/>
                <a:gd name="connsiteX3" fmla="*/ 1877674 w 4468091"/>
                <a:gd name="connsiteY3" fmla="*/ 180000 h 180000"/>
                <a:gd name="connsiteX4" fmla="*/ 1575877 w 4468091"/>
                <a:gd name="connsiteY4" fmla="*/ 180000 h 180000"/>
                <a:gd name="connsiteX5" fmla="*/ 1445674 w 4468091"/>
                <a:gd name="connsiteY5" fmla="*/ 180000 h 180000"/>
                <a:gd name="connsiteX6" fmla="*/ 1445674 w 4468091"/>
                <a:gd name="connsiteY6" fmla="*/ 90000 h 180000"/>
                <a:gd name="connsiteX7" fmla="*/ 1013272 w 4468091"/>
                <a:gd name="connsiteY7" fmla="*/ 90000 h 180000"/>
                <a:gd name="connsiteX8" fmla="*/ 1013272 w 4468091"/>
                <a:gd name="connsiteY8" fmla="*/ 108124 h 180000"/>
                <a:gd name="connsiteX9" fmla="*/ 1012938 w 4468091"/>
                <a:gd name="connsiteY9" fmla="*/ 108124 h 180000"/>
                <a:gd name="connsiteX10" fmla="*/ 1012938 w 4468091"/>
                <a:gd name="connsiteY10" fmla="*/ 180000 h 180000"/>
                <a:gd name="connsiteX11" fmla="*/ 0 w 4468091"/>
                <a:gd name="connsiteY11" fmla="*/ 18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68091" h="180000">
                  <a:moveTo>
                    <a:pt x="0" y="0"/>
                  </a:moveTo>
                  <a:lnTo>
                    <a:pt x="4468091" y="0"/>
                  </a:lnTo>
                  <a:lnTo>
                    <a:pt x="4468091" y="180000"/>
                  </a:lnTo>
                  <a:lnTo>
                    <a:pt x="1877674" y="180000"/>
                  </a:lnTo>
                  <a:lnTo>
                    <a:pt x="1575877" y="180000"/>
                  </a:lnTo>
                  <a:lnTo>
                    <a:pt x="1445674" y="180000"/>
                  </a:lnTo>
                  <a:lnTo>
                    <a:pt x="1445674" y="90000"/>
                  </a:lnTo>
                  <a:lnTo>
                    <a:pt x="1013272" y="90000"/>
                  </a:lnTo>
                  <a:lnTo>
                    <a:pt x="1013272" y="108124"/>
                  </a:lnTo>
                  <a:lnTo>
                    <a:pt x="1012938" y="108124"/>
                  </a:lnTo>
                  <a:lnTo>
                    <a:pt x="1012938" y="180000"/>
                  </a:lnTo>
                  <a:lnTo>
                    <a:pt x="0" y="18000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 sz="1800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A9B1889B-3432-A985-630E-77EFEADD23FB}"/>
                </a:ext>
              </a:extLst>
            </p:cNvPr>
            <p:cNvSpPr/>
            <p:nvPr userDrawn="1"/>
          </p:nvSpPr>
          <p:spPr>
            <a:xfrm>
              <a:off x="4473111" y="2769761"/>
              <a:ext cx="1296000" cy="180000"/>
            </a:xfrm>
            <a:custGeom>
              <a:avLst/>
              <a:gdLst>
                <a:gd name="connsiteX0" fmla="*/ 0 w 1296000"/>
                <a:gd name="connsiteY0" fmla="*/ 0 h 180000"/>
                <a:gd name="connsiteX1" fmla="*/ 1296000 w 1296000"/>
                <a:gd name="connsiteY1" fmla="*/ 0 h 180000"/>
                <a:gd name="connsiteX2" fmla="*/ 1296000 w 1296000"/>
                <a:gd name="connsiteY2" fmla="*/ 180000 h 180000"/>
                <a:gd name="connsiteX3" fmla="*/ 1164285 w 1296000"/>
                <a:gd name="connsiteY3" fmla="*/ 180000 h 180000"/>
                <a:gd name="connsiteX4" fmla="*/ 1164285 w 1296000"/>
                <a:gd name="connsiteY4" fmla="*/ 90000 h 180000"/>
                <a:gd name="connsiteX5" fmla="*/ 732285 w 1296000"/>
                <a:gd name="connsiteY5" fmla="*/ 90000 h 180000"/>
                <a:gd name="connsiteX6" fmla="*/ 732285 w 1296000"/>
                <a:gd name="connsiteY6" fmla="*/ 180000 h 180000"/>
                <a:gd name="connsiteX7" fmla="*/ 0 w 1296000"/>
                <a:gd name="connsiteY7" fmla="*/ 180000 h 180000"/>
                <a:gd name="connsiteX8" fmla="*/ 0 w 1296000"/>
                <a:gd name="connsiteY8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6000" h="180000">
                  <a:moveTo>
                    <a:pt x="0" y="0"/>
                  </a:moveTo>
                  <a:lnTo>
                    <a:pt x="1296000" y="0"/>
                  </a:lnTo>
                  <a:lnTo>
                    <a:pt x="1296000" y="180000"/>
                  </a:lnTo>
                  <a:lnTo>
                    <a:pt x="1164285" y="180000"/>
                  </a:lnTo>
                  <a:lnTo>
                    <a:pt x="1164285" y="90000"/>
                  </a:lnTo>
                  <a:lnTo>
                    <a:pt x="732285" y="90000"/>
                  </a:lnTo>
                  <a:lnTo>
                    <a:pt x="732285" y="180000"/>
                  </a:lnTo>
                  <a:lnTo>
                    <a:pt x="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 sz="1800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7CDD414D-7846-D0B1-71F8-AE34F02C7AFC}"/>
                </a:ext>
              </a:extLst>
            </p:cNvPr>
            <p:cNvSpPr/>
            <p:nvPr userDrawn="1"/>
          </p:nvSpPr>
          <p:spPr>
            <a:xfrm>
              <a:off x="5757490" y="2769761"/>
              <a:ext cx="1295328" cy="180000"/>
            </a:xfrm>
            <a:custGeom>
              <a:avLst/>
              <a:gdLst>
                <a:gd name="connsiteX0" fmla="*/ 0 w 1295328"/>
                <a:gd name="connsiteY0" fmla="*/ 0 h 180000"/>
                <a:gd name="connsiteX1" fmla="*/ 518350 w 1295328"/>
                <a:gd name="connsiteY1" fmla="*/ 0 h 180000"/>
                <a:gd name="connsiteX2" fmla="*/ 518350 w 1295328"/>
                <a:gd name="connsiteY2" fmla="*/ 90000 h 180000"/>
                <a:gd name="connsiteX3" fmla="*/ 950350 w 1295328"/>
                <a:gd name="connsiteY3" fmla="*/ 90000 h 180000"/>
                <a:gd name="connsiteX4" fmla="*/ 950350 w 1295328"/>
                <a:gd name="connsiteY4" fmla="*/ 0 h 180000"/>
                <a:gd name="connsiteX5" fmla="*/ 1295328 w 1295328"/>
                <a:gd name="connsiteY5" fmla="*/ 0 h 180000"/>
                <a:gd name="connsiteX6" fmla="*/ 1295328 w 1295328"/>
                <a:gd name="connsiteY6" fmla="*/ 180000 h 180000"/>
                <a:gd name="connsiteX7" fmla="*/ 0 w 1295328"/>
                <a:gd name="connsiteY7" fmla="*/ 180000 h 180000"/>
                <a:gd name="connsiteX8" fmla="*/ 0 w 1295328"/>
                <a:gd name="connsiteY8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5328" h="180000">
                  <a:moveTo>
                    <a:pt x="0" y="0"/>
                  </a:moveTo>
                  <a:lnTo>
                    <a:pt x="518350" y="0"/>
                  </a:lnTo>
                  <a:lnTo>
                    <a:pt x="518350" y="90000"/>
                  </a:lnTo>
                  <a:lnTo>
                    <a:pt x="950350" y="90000"/>
                  </a:lnTo>
                  <a:lnTo>
                    <a:pt x="950350" y="0"/>
                  </a:lnTo>
                  <a:lnTo>
                    <a:pt x="1295328" y="0"/>
                  </a:lnTo>
                  <a:lnTo>
                    <a:pt x="1295328" y="180000"/>
                  </a:lnTo>
                  <a:lnTo>
                    <a:pt x="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 sz="1800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F013B139-80B6-CC82-50DE-EBD54520A9CD}"/>
                </a:ext>
              </a:extLst>
            </p:cNvPr>
            <p:cNvSpPr/>
            <p:nvPr userDrawn="1"/>
          </p:nvSpPr>
          <p:spPr>
            <a:xfrm>
              <a:off x="1659867" y="2854863"/>
              <a:ext cx="432000" cy="90000"/>
            </a:xfrm>
            <a:prstGeom prst="rect">
              <a:avLst/>
            </a:prstGeom>
            <a:solidFill>
              <a:srgbClr val="6E8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sz="1800"/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13C3819D-D22A-13A0-E934-C46997870BE1}"/>
                </a:ext>
              </a:extLst>
            </p:cNvPr>
            <p:cNvSpPr/>
            <p:nvPr userDrawn="1"/>
          </p:nvSpPr>
          <p:spPr>
            <a:xfrm>
              <a:off x="1379690" y="2586162"/>
              <a:ext cx="432000" cy="90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sz="1800"/>
            </a:p>
          </p:txBody>
        </p:sp>
      </p:grpSp>
      <p:pic>
        <p:nvPicPr>
          <p:cNvPr id="70" name="Graphic 69">
            <a:extLst>
              <a:ext uri="{FF2B5EF4-FFF2-40B4-BE49-F238E27FC236}">
                <a16:creationId xmlns:a16="http://schemas.microsoft.com/office/drawing/2014/main" id="{0980F466-D6BA-8819-D6D3-AA7F5427538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710646" y="3338096"/>
            <a:ext cx="2481755" cy="531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69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1">
          <p15:clr>
            <a:srgbClr val="FBAE40"/>
          </p15:clr>
        </p15:guide>
        <p15:guide id="2" pos="449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61626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7794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7EF0385-018D-1509-99A8-7CD9160211B8}"/>
              </a:ext>
            </a:extLst>
          </p:cNvPr>
          <p:cNvSpPr/>
          <p:nvPr userDrawn="1"/>
        </p:nvSpPr>
        <p:spPr>
          <a:xfrm>
            <a:off x="0" y="2769406"/>
            <a:ext cx="7134485" cy="37107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11CD9A-72A5-31E5-E159-D2D94B754DE0}"/>
              </a:ext>
            </a:extLst>
          </p:cNvPr>
          <p:cNvSpPr/>
          <p:nvPr userDrawn="1"/>
        </p:nvSpPr>
        <p:spPr>
          <a:xfrm>
            <a:off x="7127875" y="2769406"/>
            <a:ext cx="4392613" cy="371076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EC85FD1-1EE5-CA6F-4BC0-9CD6938F27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02"/>
            <a:ext cx="7134485" cy="277178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C155171-8E2E-8737-997B-2228667FAFFE}"/>
              </a:ext>
            </a:extLst>
          </p:cNvPr>
          <p:cNvSpPr/>
          <p:nvPr userDrawn="1"/>
        </p:nvSpPr>
        <p:spPr>
          <a:xfrm>
            <a:off x="7127875" y="203"/>
            <a:ext cx="4392613" cy="27692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9949024-D761-3447-4CD2-199AC21B34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13000" y="656323"/>
            <a:ext cx="4207488" cy="499106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‹#›</a:t>
            </a:fld>
            <a:endParaRPr lang="en-US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8F1C842-315C-84A7-CB7C-BEF804CB3C6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5571" y="432987"/>
            <a:ext cx="746850" cy="16004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A74E04C-FA17-A11D-E66E-6D1C44F06B11}"/>
              </a:ext>
            </a:extLst>
          </p:cNvPr>
          <p:cNvSpPr txBox="1"/>
          <p:nvPr userDrawn="1"/>
        </p:nvSpPr>
        <p:spPr>
          <a:xfrm rot="16200000">
            <a:off x="6695616" y="2347193"/>
            <a:ext cx="64953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7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© Unsplash</a:t>
            </a:r>
            <a:endParaRPr lang="en-DE" sz="700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40643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57172A4-6BBB-FC14-2B74-6FF61CE24B8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7134225" cy="2770188"/>
          </a:xfrm>
          <a:ln>
            <a:noFill/>
          </a:ln>
        </p:spPr>
        <p:txBody>
          <a:bodyPr/>
          <a:lstStyle/>
          <a:p>
            <a:endParaRPr lang="en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7EF0385-018D-1509-99A8-7CD9160211B8}"/>
              </a:ext>
            </a:extLst>
          </p:cNvPr>
          <p:cNvSpPr/>
          <p:nvPr userDrawn="1"/>
        </p:nvSpPr>
        <p:spPr>
          <a:xfrm>
            <a:off x="0" y="2769406"/>
            <a:ext cx="7134485" cy="37107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11CD9A-72A5-31E5-E159-D2D94B754DE0}"/>
              </a:ext>
            </a:extLst>
          </p:cNvPr>
          <p:cNvSpPr/>
          <p:nvPr userDrawn="1"/>
        </p:nvSpPr>
        <p:spPr>
          <a:xfrm>
            <a:off x="7127875" y="2769406"/>
            <a:ext cx="4392613" cy="37107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C155171-8E2E-8737-997B-2228667FAFFE}"/>
              </a:ext>
            </a:extLst>
          </p:cNvPr>
          <p:cNvSpPr/>
          <p:nvPr userDrawn="1"/>
        </p:nvSpPr>
        <p:spPr>
          <a:xfrm>
            <a:off x="7127875" y="203"/>
            <a:ext cx="4392613" cy="276920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‹#›</a:t>
            </a:fld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9949024-D761-3447-4CD2-199AC21B34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3000" y="656323"/>
            <a:ext cx="4207488" cy="4991069"/>
          </a:xfrm>
          <a:prstGeom prst="rect">
            <a:avLst/>
          </a:prstGeom>
        </p:spPr>
      </p:pic>
      <p:pic>
        <p:nvPicPr>
          <p:cNvPr id="11" name="Graphic 13">
            <a:extLst>
              <a:ext uri="{FF2B5EF4-FFF2-40B4-BE49-F238E27FC236}">
                <a16:creationId xmlns:a16="http://schemas.microsoft.com/office/drawing/2014/main" id="{C8F1C842-315C-84A7-CB7C-BEF804CB3C6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85571" y="432987"/>
            <a:ext cx="746850" cy="16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9640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uppieren 12"/>
          <p:cNvGrpSpPr>
            <a:grpSpLocks noChangeAspect="1"/>
          </p:cNvGrpSpPr>
          <p:nvPr userDrawn="1"/>
        </p:nvGrpSpPr>
        <p:grpSpPr>
          <a:xfrm>
            <a:off x="0" y="0"/>
            <a:ext cx="11520000" cy="6480000"/>
            <a:chOff x="0" y="0"/>
            <a:chExt cx="12192000" cy="6858000"/>
          </a:xfrm>
        </p:grpSpPr>
        <p:grpSp>
          <p:nvGrpSpPr>
            <p:cNvPr id="8" name="Group 9">
              <a:extLst>
                <a:ext uri="{FF2B5EF4-FFF2-40B4-BE49-F238E27FC236}">
                  <a16:creationId xmlns:a16="http://schemas.microsoft.com/office/drawing/2014/main" id="{796D61F6-D144-464D-80D2-9A37D997E0EC}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9" name="Rectangle 7">
                <a:extLst>
                  <a:ext uri="{FF2B5EF4-FFF2-40B4-BE49-F238E27FC236}">
                    <a16:creationId xmlns:a16="http://schemas.microsoft.com/office/drawing/2014/main" id="{806F5FA5-7D5A-3B4C-897B-00CB7D35087E}"/>
                  </a:ext>
                </a:extLst>
              </p:cNvPr>
              <p:cNvSpPr/>
              <p:nvPr/>
            </p:nvSpPr>
            <p:spPr>
              <a:xfrm>
                <a:off x="0" y="0"/>
                <a:ext cx="10687050" cy="685800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>
                  <a:solidFill>
                    <a:srgbClr val="6F74AF"/>
                  </a:solidFill>
                </a:endParaRPr>
              </a:p>
            </p:txBody>
          </p:sp>
          <p:sp>
            <p:nvSpPr>
              <p:cNvPr id="10" name="Rectangle 8">
                <a:extLst>
                  <a:ext uri="{FF2B5EF4-FFF2-40B4-BE49-F238E27FC236}">
                    <a16:creationId xmlns:a16="http://schemas.microsoft.com/office/drawing/2014/main" id="{442F648B-FA78-1D48-B62E-FEEE88D1A617}"/>
                  </a:ext>
                </a:extLst>
              </p:cNvPr>
              <p:cNvSpPr/>
              <p:nvPr/>
            </p:nvSpPr>
            <p:spPr>
              <a:xfrm>
                <a:off x="10687050" y="0"/>
                <a:ext cx="1504950" cy="6858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>
                  <a:solidFill>
                    <a:srgbClr val="6F74AF"/>
                  </a:solidFill>
                </a:endParaRPr>
              </a:p>
            </p:txBody>
          </p:sp>
        </p:grp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C9FD9A6-4BC0-D24A-A8B2-B26DC7BD94A7}"/>
                </a:ext>
              </a:extLst>
            </p:cNvPr>
            <p:cNvSpPr/>
            <p:nvPr userDrawn="1"/>
          </p:nvSpPr>
          <p:spPr>
            <a:xfrm>
              <a:off x="10687050" y="5842974"/>
              <a:ext cx="538480" cy="14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>
                <a:solidFill>
                  <a:srgbClr val="6F74A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9E56BF4-84B8-2F4D-B0BB-44C48E19DA17}"/>
                </a:ext>
              </a:extLst>
            </p:cNvPr>
            <p:cNvSpPr/>
            <p:nvPr userDrawn="1"/>
          </p:nvSpPr>
          <p:spPr>
            <a:xfrm>
              <a:off x="10049091" y="6170739"/>
              <a:ext cx="538480" cy="14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>
                <a:solidFill>
                  <a:srgbClr val="6F74AF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95787" y="2320429"/>
            <a:ext cx="2087792" cy="1218795"/>
          </a:xfrm>
        </p:spPr>
        <p:txBody>
          <a:bodyPr anchor="t" anchorCtr="0"/>
          <a:lstStyle>
            <a:lvl1pPr>
              <a:defRPr sz="8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1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720000" y="3983537"/>
            <a:ext cx="8262964" cy="1737994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bg1"/>
                </a:solidFill>
              </a:defRPr>
            </a:lvl1pPr>
            <a:lvl2pPr marL="431992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3985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597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796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5996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1954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394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593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Formatvorlagen des </a:t>
            </a:r>
            <a:r>
              <a:rPr lang="de-DE" dirty="0" err="1"/>
              <a:t>textmasters</a:t>
            </a:r>
            <a:r>
              <a:rPr lang="de-DE" dirty="0"/>
              <a:t> bearbeiten</a:t>
            </a:r>
          </a:p>
        </p:txBody>
      </p:sp>
    </p:spTree>
    <p:extLst>
      <p:ext uri="{BB962C8B-B14F-4D97-AF65-F5344CB8AC3E}">
        <p14:creationId xmlns:p14="http://schemas.microsoft.com/office/powerpoint/2010/main" val="985548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7">
            <a:extLst>
              <a:ext uri="{FF2B5EF4-FFF2-40B4-BE49-F238E27FC236}">
                <a16:creationId xmlns:a16="http://schemas.microsoft.com/office/drawing/2014/main" id="{806F5FA5-7D5A-3B4C-897B-00CB7D35087E}"/>
              </a:ext>
            </a:extLst>
          </p:cNvPr>
          <p:cNvSpPr/>
          <p:nvPr/>
        </p:nvSpPr>
        <p:spPr>
          <a:xfrm>
            <a:off x="0" y="0"/>
            <a:ext cx="11520488" cy="648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rgbClr val="6F74A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95787" y="2320429"/>
            <a:ext cx="2087792" cy="1218795"/>
          </a:xfrm>
        </p:spPr>
        <p:txBody>
          <a:bodyPr anchor="t" anchorCtr="0"/>
          <a:lstStyle>
            <a:lvl1pPr>
              <a:defRPr sz="8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1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720000" y="3983537"/>
            <a:ext cx="8262964" cy="1737994"/>
          </a:xfrm>
        </p:spPr>
        <p:txBody>
          <a:bodyPr>
            <a:normAutofit/>
          </a:bodyPr>
          <a:lstStyle>
            <a:lvl1pPr marL="0" indent="0">
              <a:buNone/>
              <a:defRPr sz="3200" cap="none" baseline="0">
                <a:solidFill>
                  <a:schemeClr val="bg1"/>
                </a:solidFill>
              </a:defRPr>
            </a:lvl1pPr>
            <a:lvl2pPr marL="431992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3985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597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796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5996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1954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394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593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Formatvorlagen des </a:t>
            </a:r>
            <a:r>
              <a:rPr lang="de-DE" dirty="0" err="1"/>
              <a:t>textmasters</a:t>
            </a:r>
            <a:r>
              <a:rPr lang="de-DE" dirty="0"/>
              <a:t> bearbeiten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4DE6BABD-F7BC-3B19-EB1E-45F88BE6F0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04832" y="439200"/>
            <a:ext cx="2526315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7347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22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19" Type="http://schemas.openxmlformats.org/officeDocument/2006/relationships/image" Target="../media/image23.jpeg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20000" y="435600"/>
            <a:ext cx="1008135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0000" y="1440000"/>
            <a:ext cx="10080000" cy="3888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383645" y="5926525"/>
            <a:ext cx="5489555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Hi-Drive Enabler: Trajectory Planner / 2023-05-12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080000" y="5926525"/>
            <a:ext cx="72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921D17-FF92-42FC-9E57-E0410132B0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AF35E3A-37A1-46C5-3565-8035CAC0AE0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26554" y="5877209"/>
            <a:ext cx="746850" cy="160040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DC6880A0-1E2C-292A-1CED-005B3EC124DE}"/>
              </a:ext>
            </a:extLst>
          </p:cNvPr>
          <p:cNvGrpSpPr/>
          <p:nvPr userDrawn="1"/>
        </p:nvGrpSpPr>
        <p:grpSpPr>
          <a:xfrm>
            <a:off x="2523867" y="6102749"/>
            <a:ext cx="8996621" cy="406201"/>
            <a:chOff x="2527042" y="1513080"/>
            <a:chExt cx="8996621" cy="40620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432B402-BD54-283F-06D0-D27883A452EF}"/>
                </a:ext>
              </a:extLst>
            </p:cNvPr>
            <p:cNvSpPr/>
            <p:nvPr userDrawn="1"/>
          </p:nvSpPr>
          <p:spPr>
            <a:xfrm>
              <a:off x="4899246" y="1588670"/>
              <a:ext cx="432000" cy="9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C8C2380-061A-CEB3-B6AB-F651A40DA485}"/>
                </a:ext>
              </a:extLst>
            </p:cNvPr>
            <p:cNvSpPr/>
            <p:nvPr userDrawn="1"/>
          </p:nvSpPr>
          <p:spPr>
            <a:xfrm>
              <a:off x="2527042" y="1829281"/>
              <a:ext cx="432000" cy="9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7AC7A23-D1A7-1411-5326-4F3666BAA2B5}"/>
                </a:ext>
              </a:extLst>
            </p:cNvPr>
            <p:cNvSpPr/>
            <p:nvPr userDrawn="1"/>
          </p:nvSpPr>
          <p:spPr>
            <a:xfrm>
              <a:off x="5976464" y="1513080"/>
              <a:ext cx="432000" cy="9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18D947B-F9CE-3885-B7D9-E71BBB0E4DDE}"/>
                </a:ext>
              </a:extLst>
            </p:cNvPr>
            <p:cNvSpPr/>
            <p:nvPr userDrawn="1"/>
          </p:nvSpPr>
          <p:spPr>
            <a:xfrm>
              <a:off x="7703329" y="1645720"/>
              <a:ext cx="432000" cy="9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6424100C-F102-56FD-8355-9EE0ED79388F}"/>
                </a:ext>
              </a:extLst>
            </p:cNvPr>
            <p:cNvSpPr/>
            <p:nvPr userDrawn="1"/>
          </p:nvSpPr>
          <p:spPr>
            <a:xfrm>
              <a:off x="3186488" y="1715479"/>
              <a:ext cx="1290976" cy="180000"/>
            </a:xfrm>
            <a:custGeom>
              <a:avLst/>
              <a:gdLst>
                <a:gd name="connsiteX0" fmla="*/ 0 w 1290976"/>
                <a:gd name="connsiteY0" fmla="*/ 0 h 180000"/>
                <a:gd name="connsiteX1" fmla="*/ 1290976 w 1290976"/>
                <a:gd name="connsiteY1" fmla="*/ 0 h 180000"/>
                <a:gd name="connsiteX2" fmla="*/ 1290976 w 1290976"/>
                <a:gd name="connsiteY2" fmla="*/ 180000 h 180000"/>
                <a:gd name="connsiteX3" fmla="*/ 432000 w 1290976"/>
                <a:gd name="connsiteY3" fmla="*/ 180000 h 180000"/>
                <a:gd name="connsiteX4" fmla="*/ 432000 w 1290976"/>
                <a:gd name="connsiteY4" fmla="*/ 90000 h 180000"/>
                <a:gd name="connsiteX5" fmla="*/ 0 w 1290976"/>
                <a:gd name="connsiteY5" fmla="*/ 9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0976" h="180000">
                  <a:moveTo>
                    <a:pt x="0" y="0"/>
                  </a:moveTo>
                  <a:lnTo>
                    <a:pt x="1290976" y="0"/>
                  </a:lnTo>
                  <a:lnTo>
                    <a:pt x="1290976" y="180000"/>
                  </a:lnTo>
                  <a:lnTo>
                    <a:pt x="432000" y="180000"/>
                  </a:lnTo>
                  <a:lnTo>
                    <a:pt x="432000" y="90000"/>
                  </a:lnTo>
                  <a:lnTo>
                    <a:pt x="0" y="900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9CB07A05-3746-C81F-3506-93C50BCB12C2}"/>
                </a:ext>
              </a:extLst>
            </p:cNvPr>
            <p:cNvSpPr/>
            <p:nvPr userDrawn="1"/>
          </p:nvSpPr>
          <p:spPr>
            <a:xfrm>
              <a:off x="7055572" y="1713677"/>
              <a:ext cx="4468091" cy="180000"/>
            </a:xfrm>
            <a:custGeom>
              <a:avLst/>
              <a:gdLst>
                <a:gd name="connsiteX0" fmla="*/ 0 w 4468091"/>
                <a:gd name="connsiteY0" fmla="*/ 0 h 180000"/>
                <a:gd name="connsiteX1" fmla="*/ 4468091 w 4468091"/>
                <a:gd name="connsiteY1" fmla="*/ 0 h 180000"/>
                <a:gd name="connsiteX2" fmla="*/ 4468091 w 4468091"/>
                <a:gd name="connsiteY2" fmla="*/ 180000 h 180000"/>
                <a:gd name="connsiteX3" fmla="*/ 1877674 w 4468091"/>
                <a:gd name="connsiteY3" fmla="*/ 180000 h 180000"/>
                <a:gd name="connsiteX4" fmla="*/ 1575877 w 4468091"/>
                <a:gd name="connsiteY4" fmla="*/ 180000 h 180000"/>
                <a:gd name="connsiteX5" fmla="*/ 1445674 w 4468091"/>
                <a:gd name="connsiteY5" fmla="*/ 180000 h 180000"/>
                <a:gd name="connsiteX6" fmla="*/ 1445674 w 4468091"/>
                <a:gd name="connsiteY6" fmla="*/ 90000 h 180000"/>
                <a:gd name="connsiteX7" fmla="*/ 1013272 w 4468091"/>
                <a:gd name="connsiteY7" fmla="*/ 90000 h 180000"/>
                <a:gd name="connsiteX8" fmla="*/ 1013272 w 4468091"/>
                <a:gd name="connsiteY8" fmla="*/ 108124 h 180000"/>
                <a:gd name="connsiteX9" fmla="*/ 1012938 w 4468091"/>
                <a:gd name="connsiteY9" fmla="*/ 108124 h 180000"/>
                <a:gd name="connsiteX10" fmla="*/ 1012938 w 4468091"/>
                <a:gd name="connsiteY10" fmla="*/ 180000 h 180000"/>
                <a:gd name="connsiteX11" fmla="*/ 0 w 4468091"/>
                <a:gd name="connsiteY11" fmla="*/ 18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68091" h="180000">
                  <a:moveTo>
                    <a:pt x="0" y="0"/>
                  </a:moveTo>
                  <a:lnTo>
                    <a:pt x="4468091" y="0"/>
                  </a:lnTo>
                  <a:lnTo>
                    <a:pt x="4468091" y="180000"/>
                  </a:lnTo>
                  <a:lnTo>
                    <a:pt x="1877674" y="180000"/>
                  </a:lnTo>
                  <a:lnTo>
                    <a:pt x="1575877" y="180000"/>
                  </a:lnTo>
                  <a:lnTo>
                    <a:pt x="1445674" y="180000"/>
                  </a:lnTo>
                  <a:lnTo>
                    <a:pt x="1445674" y="90000"/>
                  </a:lnTo>
                  <a:lnTo>
                    <a:pt x="1013272" y="90000"/>
                  </a:lnTo>
                  <a:lnTo>
                    <a:pt x="1013272" y="108124"/>
                  </a:lnTo>
                  <a:lnTo>
                    <a:pt x="1012938" y="108124"/>
                  </a:lnTo>
                  <a:lnTo>
                    <a:pt x="1012938" y="180000"/>
                  </a:lnTo>
                  <a:lnTo>
                    <a:pt x="0" y="180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 dirty="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076D6BC7-E3B5-BD79-23A5-80FC18838DB6}"/>
                </a:ext>
              </a:extLst>
            </p:cNvPr>
            <p:cNvSpPr/>
            <p:nvPr userDrawn="1"/>
          </p:nvSpPr>
          <p:spPr>
            <a:xfrm>
              <a:off x="4476286" y="1713677"/>
              <a:ext cx="1296000" cy="180000"/>
            </a:xfrm>
            <a:custGeom>
              <a:avLst/>
              <a:gdLst>
                <a:gd name="connsiteX0" fmla="*/ 0 w 1296000"/>
                <a:gd name="connsiteY0" fmla="*/ 0 h 180000"/>
                <a:gd name="connsiteX1" fmla="*/ 1296000 w 1296000"/>
                <a:gd name="connsiteY1" fmla="*/ 0 h 180000"/>
                <a:gd name="connsiteX2" fmla="*/ 1296000 w 1296000"/>
                <a:gd name="connsiteY2" fmla="*/ 180000 h 180000"/>
                <a:gd name="connsiteX3" fmla="*/ 1164285 w 1296000"/>
                <a:gd name="connsiteY3" fmla="*/ 180000 h 180000"/>
                <a:gd name="connsiteX4" fmla="*/ 1164285 w 1296000"/>
                <a:gd name="connsiteY4" fmla="*/ 90000 h 180000"/>
                <a:gd name="connsiteX5" fmla="*/ 732285 w 1296000"/>
                <a:gd name="connsiteY5" fmla="*/ 90000 h 180000"/>
                <a:gd name="connsiteX6" fmla="*/ 732285 w 1296000"/>
                <a:gd name="connsiteY6" fmla="*/ 180000 h 180000"/>
                <a:gd name="connsiteX7" fmla="*/ 0 w 1296000"/>
                <a:gd name="connsiteY7" fmla="*/ 180000 h 180000"/>
                <a:gd name="connsiteX8" fmla="*/ 0 w 1296000"/>
                <a:gd name="connsiteY8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6000" h="180000">
                  <a:moveTo>
                    <a:pt x="0" y="0"/>
                  </a:moveTo>
                  <a:lnTo>
                    <a:pt x="1296000" y="0"/>
                  </a:lnTo>
                  <a:lnTo>
                    <a:pt x="1296000" y="180000"/>
                  </a:lnTo>
                  <a:lnTo>
                    <a:pt x="1164285" y="180000"/>
                  </a:lnTo>
                  <a:lnTo>
                    <a:pt x="1164285" y="90000"/>
                  </a:lnTo>
                  <a:lnTo>
                    <a:pt x="732285" y="90000"/>
                  </a:lnTo>
                  <a:lnTo>
                    <a:pt x="732285" y="180000"/>
                  </a:lnTo>
                  <a:lnTo>
                    <a:pt x="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00AC1B02-FD83-A036-06FB-248932068A5F}"/>
                </a:ext>
              </a:extLst>
            </p:cNvPr>
            <p:cNvSpPr/>
            <p:nvPr userDrawn="1"/>
          </p:nvSpPr>
          <p:spPr>
            <a:xfrm>
              <a:off x="5760800" y="1713677"/>
              <a:ext cx="1295328" cy="180000"/>
            </a:xfrm>
            <a:custGeom>
              <a:avLst/>
              <a:gdLst>
                <a:gd name="connsiteX0" fmla="*/ 0 w 1295328"/>
                <a:gd name="connsiteY0" fmla="*/ 0 h 180000"/>
                <a:gd name="connsiteX1" fmla="*/ 518350 w 1295328"/>
                <a:gd name="connsiteY1" fmla="*/ 0 h 180000"/>
                <a:gd name="connsiteX2" fmla="*/ 518350 w 1295328"/>
                <a:gd name="connsiteY2" fmla="*/ 90000 h 180000"/>
                <a:gd name="connsiteX3" fmla="*/ 950350 w 1295328"/>
                <a:gd name="connsiteY3" fmla="*/ 90000 h 180000"/>
                <a:gd name="connsiteX4" fmla="*/ 950350 w 1295328"/>
                <a:gd name="connsiteY4" fmla="*/ 0 h 180000"/>
                <a:gd name="connsiteX5" fmla="*/ 1295328 w 1295328"/>
                <a:gd name="connsiteY5" fmla="*/ 0 h 180000"/>
                <a:gd name="connsiteX6" fmla="*/ 1295328 w 1295328"/>
                <a:gd name="connsiteY6" fmla="*/ 180000 h 180000"/>
                <a:gd name="connsiteX7" fmla="*/ 0 w 1295328"/>
                <a:gd name="connsiteY7" fmla="*/ 180000 h 180000"/>
                <a:gd name="connsiteX8" fmla="*/ 0 w 1295328"/>
                <a:gd name="connsiteY8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5328" h="180000">
                  <a:moveTo>
                    <a:pt x="0" y="0"/>
                  </a:moveTo>
                  <a:lnTo>
                    <a:pt x="518350" y="0"/>
                  </a:lnTo>
                  <a:lnTo>
                    <a:pt x="518350" y="90000"/>
                  </a:lnTo>
                  <a:lnTo>
                    <a:pt x="950350" y="90000"/>
                  </a:lnTo>
                  <a:lnTo>
                    <a:pt x="950350" y="0"/>
                  </a:lnTo>
                  <a:lnTo>
                    <a:pt x="1295328" y="0"/>
                  </a:lnTo>
                  <a:lnTo>
                    <a:pt x="1295328" y="180000"/>
                  </a:lnTo>
                  <a:lnTo>
                    <a:pt x="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</p:grpSp>
    </p:spTree>
    <p:extLst>
      <p:ext uri="{BB962C8B-B14F-4D97-AF65-F5344CB8AC3E}">
        <p14:creationId xmlns:p14="http://schemas.microsoft.com/office/powerpoint/2010/main" val="3364800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66" r:id="rId2"/>
    <p:sldLayoutId id="2147483767" r:id="rId3"/>
    <p:sldLayoutId id="2147483713" r:id="rId4"/>
    <p:sldLayoutId id="2147483721" r:id="rId5"/>
    <p:sldLayoutId id="2147483768" r:id="rId6"/>
    <p:sldLayoutId id="2147483769" r:id="rId7"/>
    <p:sldLayoutId id="2147483714" r:id="rId8"/>
    <p:sldLayoutId id="2147483770" r:id="rId9"/>
    <p:sldLayoutId id="2147483715" r:id="rId10"/>
    <p:sldLayoutId id="2147483716" r:id="rId11"/>
    <p:sldLayoutId id="2147483717" r:id="rId12"/>
    <p:sldLayoutId id="2147483718" r:id="rId13"/>
    <p:sldLayoutId id="2147483719" r:id="rId14"/>
    <p:sldLayoutId id="2147483720" r:id="rId15"/>
    <p:sldLayoutId id="2147483771" r:id="rId16"/>
  </p:sldLayoutIdLst>
  <p:hf hdr="0" dt="0"/>
  <p:txStyles>
    <p:titleStyle>
      <a:lvl1pPr algn="l" defTabSz="863985" rtl="0" eaLnBrk="1" latinLnBrk="0" hangingPunct="1">
        <a:lnSpc>
          <a:spcPct val="90000"/>
        </a:lnSpc>
        <a:spcBef>
          <a:spcPct val="0"/>
        </a:spcBef>
        <a:buNone/>
        <a:defRPr sz="2000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863985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180000" algn="l" defTabSz="863985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863985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720000" indent="-180000" algn="l" defTabSz="863985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900000" indent="-180000" algn="l" defTabSz="863985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375958" indent="-215996" algn="l" defTabSz="86398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952" indent="-215996" algn="l" defTabSz="86398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942" indent="-215996" algn="l" defTabSz="86398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934" indent="-215996" algn="l" defTabSz="86398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398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92" algn="l" defTabSz="86398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985" algn="l" defTabSz="86398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977" algn="l" defTabSz="86398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969" algn="l" defTabSz="86398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961" algn="l" defTabSz="86398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954" algn="l" defTabSz="86398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946" algn="l" defTabSz="86398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939" algn="l" defTabSz="86398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56" userDrawn="1">
          <p15:clr>
            <a:srgbClr val="F26B43"/>
          </p15:clr>
        </p15:guide>
        <p15:guide id="2" pos="453" userDrawn="1">
          <p15:clr>
            <a:srgbClr val="F26B43"/>
          </p15:clr>
        </p15:guide>
        <p15:guide id="3" orient="horz" pos="907" userDrawn="1">
          <p15:clr>
            <a:srgbClr val="F26B43"/>
          </p15:clr>
        </p15:guide>
        <p15:guide id="4" pos="68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68921531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67206" y="582900"/>
            <a:ext cx="10096150" cy="10763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667205" y="1663908"/>
            <a:ext cx="10096151" cy="40987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03" lvl="0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03" lvl="1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03" lvl="2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03" lvl="3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03" lvl="4" indent="-23490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</a:p>
        </p:txBody>
      </p:sp>
      <p:sp>
        <p:nvSpPr>
          <p:cNvPr id="14" name="Rectangle 9"/>
          <p:cNvSpPr>
            <a:spLocks noChangeArrowheads="1"/>
          </p:cNvSpPr>
          <p:nvPr/>
        </p:nvSpPr>
        <p:spPr bwMode="auto">
          <a:xfrm>
            <a:off x="757134" y="5877340"/>
            <a:ext cx="2368224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en-US" sz="700" b="1" baseline="0" noProof="0">
                <a:solidFill>
                  <a:schemeClr val="tx1"/>
                </a:solidFill>
                <a:latin typeface="Arial" charset="0"/>
              </a:rPr>
              <a:t>Volvo Group Trucks Technology</a:t>
            </a:r>
          </a:p>
        </p:txBody>
      </p:sp>
      <p:sp>
        <p:nvSpPr>
          <p:cNvPr id="23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134" y="6150009"/>
            <a:ext cx="511105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441" y="6148422"/>
            <a:ext cx="2861402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  <p:pic>
        <p:nvPicPr>
          <p:cNvPr id="26" name="Bildobjekt 8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5445" y="5832176"/>
            <a:ext cx="647910" cy="648000"/>
          </a:xfrm>
          <a:prstGeom prst="rect">
            <a:avLst/>
          </a:prstGeom>
          <a:ln w="12700">
            <a:noFill/>
          </a:ln>
        </p:spPr>
      </p:pic>
      <p:sp>
        <p:nvSpPr>
          <p:cNvPr id="2" name="TextBox 1"/>
          <p:cNvSpPr txBox="1"/>
          <p:nvPr userDrawn="1"/>
        </p:nvSpPr>
        <p:spPr>
          <a:xfrm>
            <a:off x="595107" y="301233"/>
            <a:ext cx="167385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/>
              <a:t>Project: &lt;ID&gt;</a:t>
            </a:r>
            <a:r>
              <a:rPr lang="en-GB" sz="1000" baseline="0"/>
              <a:t> &lt;Hi-DRIVE&gt;</a:t>
            </a:r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2343877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</p:sldLayoutIdLst>
  <p:hf hdr="0" dt="0"/>
  <p:txStyles>
    <p:titleStyle>
      <a:lvl1pPr algn="l" defTabSz="914216" rtl="0" eaLnBrk="1" latinLnBrk="0" hangingPunct="1">
        <a:lnSpc>
          <a:spcPts val="3400"/>
        </a:lnSpc>
        <a:spcBef>
          <a:spcPct val="0"/>
        </a:spcBef>
        <a:buNone/>
        <a:defRPr lang="en-US" sz="2800" b="1" kern="1200" smtClean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34903" indent="-234903" algn="l" defTabSz="914216" rtl="0" eaLnBrk="1" fontAlgn="base" latinLnBrk="0" hangingPunct="1">
        <a:spcBef>
          <a:spcPct val="4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lang="en-US" sz="18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137" indent="-250775" algn="l" defTabSz="914216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252" indent="-207921" algn="l" defTabSz="914216" rtl="0" eaLnBrk="1" fontAlgn="base" latinLnBrk="0" hangingPunct="1">
        <a:spcBef>
          <a:spcPct val="40000"/>
        </a:spcBef>
        <a:spcAft>
          <a:spcPct val="0"/>
        </a:spcAft>
        <a:buClr>
          <a:schemeClr val="tx2"/>
        </a:buClr>
        <a:buSzPct val="90000"/>
        <a:buFont typeface="Arial" panose="020B0604020202020204" pitchFamily="34" charset="0"/>
        <a:buChar char="–"/>
        <a:defRPr lang="en-US" sz="18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575" indent="-252362" algn="l" defTabSz="914216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8955" indent="-212682" algn="l" defTabSz="914216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094" indent="-228554" algn="l" defTabSz="91421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2" indent="-228554" algn="l" defTabSz="91421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0" indent="-228554" algn="l" defTabSz="91421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417" indent="-228554" algn="l" defTabSz="91421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6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4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2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0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48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56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4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5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g"/><Relationship Id="rId2" Type="http://schemas.openxmlformats.org/officeDocument/2006/relationships/image" Target="../media/image96.jp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jp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10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8.svg"/><Relationship Id="rId5" Type="http://schemas.openxmlformats.org/officeDocument/2006/relationships/image" Target="../media/image107.png"/><Relationship Id="rId4" Type="http://schemas.openxmlformats.org/officeDocument/2006/relationships/image" Target="../media/image106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7" Type="http://schemas.openxmlformats.org/officeDocument/2006/relationships/image" Target="../media/image108.svg"/><Relationship Id="rId2" Type="http://schemas.openxmlformats.org/officeDocument/2006/relationships/image" Target="../media/image1010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7.png"/><Relationship Id="rId5" Type="http://schemas.openxmlformats.org/officeDocument/2006/relationships/image" Target="../media/image106.svg"/><Relationship Id="rId4" Type="http://schemas.openxmlformats.org/officeDocument/2006/relationships/image" Target="../media/image10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0.png"/><Relationship Id="rId3" Type="http://schemas.openxmlformats.org/officeDocument/2006/relationships/image" Target="../media/image106.png"/><Relationship Id="rId7" Type="http://schemas.openxmlformats.org/officeDocument/2006/relationships/image" Target="../media/image108.svg"/><Relationship Id="rId2" Type="http://schemas.openxmlformats.org/officeDocument/2006/relationships/image" Target="../media/image1010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7.png"/><Relationship Id="rId5" Type="http://schemas.openxmlformats.org/officeDocument/2006/relationships/image" Target="../media/image106.svg"/><Relationship Id="rId4" Type="http://schemas.openxmlformats.org/officeDocument/2006/relationships/image" Target="../media/image10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0.png"/><Relationship Id="rId3" Type="http://schemas.openxmlformats.org/officeDocument/2006/relationships/image" Target="../media/image106.png"/><Relationship Id="rId7" Type="http://schemas.openxmlformats.org/officeDocument/2006/relationships/image" Target="../media/image108.svg"/><Relationship Id="rId2" Type="http://schemas.openxmlformats.org/officeDocument/2006/relationships/image" Target="../media/image1010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7.png"/><Relationship Id="rId5" Type="http://schemas.openxmlformats.org/officeDocument/2006/relationships/image" Target="../media/image106.svg"/><Relationship Id="rId4" Type="http://schemas.openxmlformats.org/officeDocument/2006/relationships/image" Target="../media/image105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svg"/><Relationship Id="rId3" Type="http://schemas.openxmlformats.org/officeDocument/2006/relationships/image" Target="../media/image106.png"/><Relationship Id="rId7" Type="http://schemas.openxmlformats.org/officeDocument/2006/relationships/image" Target="../media/image107.png"/><Relationship Id="rId2" Type="http://schemas.openxmlformats.org/officeDocument/2006/relationships/image" Target="../media/image1010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6.svg"/><Relationship Id="rId5" Type="http://schemas.openxmlformats.org/officeDocument/2006/relationships/image" Target="../media/image105.png"/><Relationship Id="rId4" Type="http://schemas.openxmlformats.org/officeDocument/2006/relationships/image" Target="../media/image107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3" Type="http://schemas.openxmlformats.org/officeDocument/2006/relationships/image" Target="../media/image106.png"/><Relationship Id="rId7" Type="http://schemas.openxmlformats.org/officeDocument/2006/relationships/image" Target="../media/image108.svg"/><Relationship Id="rId2" Type="http://schemas.openxmlformats.org/officeDocument/2006/relationships/image" Target="../media/image1010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7.png"/><Relationship Id="rId5" Type="http://schemas.openxmlformats.org/officeDocument/2006/relationships/image" Target="../media/image108.png"/><Relationship Id="rId4" Type="http://schemas.openxmlformats.org/officeDocument/2006/relationships/image" Target="../media/image1070.png"/><Relationship Id="rId9" Type="http://schemas.openxmlformats.org/officeDocument/2006/relationships/image" Target="../media/image106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emf"/><Relationship Id="rId2" Type="http://schemas.openxmlformats.org/officeDocument/2006/relationships/image" Target="../media/image113.emf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0.png"/><Relationship Id="rId4" Type="http://schemas.openxmlformats.org/officeDocument/2006/relationships/image" Target="../media/image11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emf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7" Type="http://schemas.openxmlformats.org/officeDocument/2006/relationships/image" Target="../media/image17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image" Target="../media/image36.svg"/><Relationship Id="rId4" Type="http://schemas.openxmlformats.org/officeDocument/2006/relationships/image" Target="../media/image3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0.png"/><Relationship Id="rId18" Type="http://schemas.openxmlformats.org/officeDocument/2006/relationships/image" Target="../media/image55.jpg"/><Relationship Id="rId26" Type="http://schemas.openxmlformats.org/officeDocument/2006/relationships/image" Target="../media/image63.jpeg"/><Relationship Id="rId39" Type="http://schemas.openxmlformats.org/officeDocument/2006/relationships/image" Target="../media/image76.png"/><Relationship Id="rId21" Type="http://schemas.openxmlformats.org/officeDocument/2006/relationships/image" Target="../media/image58.png"/><Relationship Id="rId34" Type="http://schemas.openxmlformats.org/officeDocument/2006/relationships/image" Target="../media/image71.png"/><Relationship Id="rId42" Type="http://schemas.openxmlformats.org/officeDocument/2006/relationships/image" Target="../media/image79.png"/><Relationship Id="rId47" Type="http://schemas.openxmlformats.org/officeDocument/2006/relationships/image" Target="../media/image84.jpg"/><Relationship Id="rId50" Type="http://schemas.openxmlformats.org/officeDocument/2006/relationships/image" Target="../media/image87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53.png"/><Relationship Id="rId29" Type="http://schemas.openxmlformats.org/officeDocument/2006/relationships/image" Target="../media/image66.png"/><Relationship Id="rId11" Type="http://schemas.openxmlformats.org/officeDocument/2006/relationships/image" Target="../media/image48.png"/><Relationship Id="rId24" Type="http://schemas.openxmlformats.org/officeDocument/2006/relationships/image" Target="../media/image61.jpeg"/><Relationship Id="rId32" Type="http://schemas.openxmlformats.org/officeDocument/2006/relationships/image" Target="../media/image69.png"/><Relationship Id="rId37" Type="http://schemas.openxmlformats.org/officeDocument/2006/relationships/image" Target="../media/image74.jpg"/><Relationship Id="rId40" Type="http://schemas.openxmlformats.org/officeDocument/2006/relationships/image" Target="../media/image77.jpeg"/><Relationship Id="rId45" Type="http://schemas.openxmlformats.org/officeDocument/2006/relationships/image" Target="../media/image82.jpeg"/><Relationship Id="rId5" Type="http://schemas.openxmlformats.org/officeDocument/2006/relationships/image" Target="../media/image42.png"/><Relationship Id="rId15" Type="http://schemas.openxmlformats.org/officeDocument/2006/relationships/image" Target="../media/image52.png"/><Relationship Id="rId23" Type="http://schemas.openxmlformats.org/officeDocument/2006/relationships/image" Target="../media/image60.png"/><Relationship Id="rId28" Type="http://schemas.openxmlformats.org/officeDocument/2006/relationships/image" Target="../media/image65.png"/><Relationship Id="rId36" Type="http://schemas.openxmlformats.org/officeDocument/2006/relationships/image" Target="../media/image73.png"/><Relationship Id="rId49" Type="http://schemas.openxmlformats.org/officeDocument/2006/relationships/image" Target="../media/image86.png"/><Relationship Id="rId10" Type="http://schemas.openxmlformats.org/officeDocument/2006/relationships/image" Target="../media/image47.png"/><Relationship Id="rId19" Type="http://schemas.openxmlformats.org/officeDocument/2006/relationships/image" Target="../media/image56.png"/><Relationship Id="rId31" Type="http://schemas.openxmlformats.org/officeDocument/2006/relationships/image" Target="../media/image68.png"/><Relationship Id="rId44" Type="http://schemas.openxmlformats.org/officeDocument/2006/relationships/image" Target="../media/image81.png"/><Relationship Id="rId52" Type="http://schemas.openxmlformats.org/officeDocument/2006/relationships/image" Target="../media/image89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Relationship Id="rId14" Type="http://schemas.openxmlformats.org/officeDocument/2006/relationships/image" Target="../media/image51.png"/><Relationship Id="rId22" Type="http://schemas.openxmlformats.org/officeDocument/2006/relationships/image" Target="../media/image59.png"/><Relationship Id="rId27" Type="http://schemas.openxmlformats.org/officeDocument/2006/relationships/image" Target="../media/image64.png"/><Relationship Id="rId30" Type="http://schemas.openxmlformats.org/officeDocument/2006/relationships/image" Target="../media/image67.png"/><Relationship Id="rId35" Type="http://schemas.openxmlformats.org/officeDocument/2006/relationships/image" Target="../media/image72.png"/><Relationship Id="rId43" Type="http://schemas.openxmlformats.org/officeDocument/2006/relationships/image" Target="../media/image80.png"/><Relationship Id="rId48" Type="http://schemas.openxmlformats.org/officeDocument/2006/relationships/image" Target="../media/image85.jpeg"/><Relationship Id="rId8" Type="http://schemas.openxmlformats.org/officeDocument/2006/relationships/image" Target="../media/image45.tiff"/><Relationship Id="rId51" Type="http://schemas.openxmlformats.org/officeDocument/2006/relationships/image" Target="../media/image88.png"/><Relationship Id="rId3" Type="http://schemas.openxmlformats.org/officeDocument/2006/relationships/image" Target="../media/image40.png"/><Relationship Id="rId12" Type="http://schemas.openxmlformats.org/officeDocument/2006/relationships/image" Target="../media/image49.jpeg"/><Relationship Id="rId17" Type="http://schemas.openxmlformats.org/officeDocument/2006/relationships/image" Target="../media/image54.png"/><Relationship Id="rId25" Type="http://schemas.openxmlformats.org/officeDocument/2006/relationships/image" Target="../media/image62.jpeg"/><Relationship Id="rId33" Type="http://schemas.openxmlformats.org/officeDocument/2006/relationships/image" Target="../media/image70.jpeg"/><Relationship Id="rId38" Type="http://schemas.openxmlformats.org/officeDocument/2006/relationships/image" Target="../media/image75.png"/><Relationship Id="rId46" Type="http://schemas.openxmlformats.org/officeDocument/2006/relationships/image" Target="../media/image83.jpeg"/><Relationship Id="rId20" Type="http://schemas.openxmlformats.org/officeDocument/2006/relationships/image" Target="../media/image57.png"/><Relationship Id="rId41" Type="http://schemas.openxmlformats.org/officeDocument/2006/relationships/image" Target="../media/image78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000" y="3294000"/>
            <a:ext cx="7719807" cy="1192249"/>
          </a:xfrm>
        </p:spPr>
        <p:txBody>
          <a:bodyPr/>
          <a:lstStyle/>
          <a:p>
            <a:r>
              <a:rPr lang="en-GB" dirty="0"/>
              <a:t>EU Hi-Drive project and cooperative trajectory planning for connected automated vehicles</a:t>
            </a:r>
            <a:br>
              <a:rPr lang="en-GB" dirty="0"/>
            </a:br>
            <a:r>
              <a:rPr lang="en-GB" sz="1800" dirty="0"/>
              <a:t>All Researchers' Day, Transport Area of Advance, 12 May 2023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0000" y="4780906"/>
            <a:ext cx="5286407" cy="923816"/>
          </a:xfrm>
        </p:spPr>
        <p:txBody>
          <a:bodyPr>
            <a:normAutofit lnSpcReduction="10000"/>
          </a:bodyPr>
          <a:lstStyle/>
          <a:p>
            <a:r>
              <a:rPr lang="en-GB" dirty="0"/>
              <a:t>Pavel </a:t>
            </a:r>
            <a:r>
              <a:rPr lang="en-GB" dirty="0" err="1"/>
              <a:t>Anistratov</a:t>
            </a:r>
            <a:endParaRPr lang="en-GB" dirty="0"/>
          </a:p>
          <a:p>
            <a:r>
              <a:rPr lang="en-GB" dirty="0"/>
              <a:t>Postdoc, Mechatronics, Electrical Engineering, Chalmers </a:t>
            </a:r>
          </a:p>
        </p:txBody>
      </p:sp>
    </p:spTree>
    <p:extLst>
      <p:ext uri="{BB962C8B-B14F-4D97-AF65-F5344CB8AC3E}">
        <p14:creationId xmlns:p14="http://schemas.microsoft.com/office/powerpoint/2010/main" val="32956397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EE86596A-C0A5-F5B7-C108-45AE785F615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134225" cy="2770188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56843C9A-C33D-BBAD-B811-90C8969C8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493B2087-E7D9-6685-A236-2C7833EADF6B}"/>
              </a:ext>
            </a:extLst>
          </p:cNvPr>
          <p:cNvSpPr txBox="1">
            <a:spLocks/>
          </p:cNvSpPr>
          <p:nvPr/>
        </p:nvSpPr>
        <p:spPr>
          <a:xfrm>
            <a:off x="7394713" y="3138446"/>
            <a:ext cx="3970116" cy="1699657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375958" indent="-215996" algn="l" defTabSz="86398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52" indent="-215996" algn="l" defTabSz="86398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42" indent="-215996" algn="l" defTabSz="86398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34" indent="-215996" algn="l" defTabSz="86398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GB" dirty="0">
                <a:solidFill>
                  <a:schemeClr val="bg1"/>
                </a:solidFill>
              </a:rPr>
              <a:t>Use Cases &amp; Scenarios</a:t>
            </a:r>
          </a:p>
          <a:p>
            <a:pPr marL="0" indent="0">
              <a:buClr>
                <a:schemeClr val="bg1"/>
              </a:buClr>
              <a:buNone/>
            </a:pPr>
            <a:r>
              <a:rPr lang="en-GB" dirty="0">
                <a:solidFill>
                  <a:schemeClr val="bg1"/>
                </a:solidFill>
              </a:rPr>
              <a:t>Logging Tools</a:t>
            </a:r>
          </a:p>
          <a:p>
            <a:pPr marL="0" indent="0">
              <a:buClr>
                <a:schemeClr val="bg1"/>
              </a:buClr>
              <a:buNone/>
            </a:pPr>
            <a:r>
              <a:rPr lang="en-GB" dirty="0">
                <a:solidFill>
                  <a:schemeClr val="bg1"/>
                </a:solidFill>
              </a:rPr>
              <a:t>CADFs with Enablers</a:t>
            </a:r>
          </a:p>
          <a:p>
            <a:pPr marL="0" indent="0">
              <a:buClr>
                <a:schemeClr val="bg1"/>
              </a:buClr>
              <a:buNone/>
            </a:pPr>
            <a:r>
              <a:rPr lang="en-GB" dirty="0">
                <a:solidFill>
                  <a:schemeClr val="bg1"/>
                </a:solidFill>
              </a:rPr>
              <a:t>Setting up the Testing &amp; Demo System</a:t>
            </a:r>
          </a:p>
          <a:p>
            <a:pPr marL="0" indent="0">
              <a:buClr>
                <a:schemeClr val="bg1"/>
              </a:buClr>
              <a:buNone/>
            </a:pPr>
            <a:r>
              <a:rPr lang="en-GB" dirty="0">
                <a:solidFill>
                  <a:schemeClr val="bg1"/>
                </a:solidFill>
              </a:rPr>
              <a:t>Vehicles Preparation &amp; Pre-testing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DB552AF0-B79C-6807-B13E-D9F47ED3F61E}"/>
              </a:ext>
            </a:extLst>
          </p:cNvPr>
          <p:cNvSpPr txBox="1">
            <a:spLocks/>
          </p:cNvSpPr>
          <p:nvPr/>
        </p:nvSpPr>
        <p:spPr>
          <a:xfrm>
            <a:off x="720001" y="3087646"/>
            <a:ext cx="6195872" cy="182203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639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 cap="all" baseline="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 b="1" cap="none" dirty="0">
                <a:solidFill>
                  <a:schemeClr val="accent1"/>
                </a:solidFill>
              </a:rPr>
              <a:t>Define and build up high automation fleet - passenger cars and trucks.</a:t>
            </a:r>
          </a:p>
          <a:p>
            <a:pPr>
              <a:lnSpc>
                <a:spcPct val="100000"/>
              </a:lnSpc>
            </a:pPr>
            <a:endParaRPr lang="en-GB" sz="3200" cap="none" dirty="0">
              <a:solidFill>
                <a:schemeClr val="accent1"/>
              </a:solidFill>
            </a:endParaRPr>
          </a:p>
        </p:txBody>
      </p:sp>
      <p:pic>
        <p:nvPicPr>
          <p:cNvPr id="8" name="Graphic 4">
            <a:extLst>
              <a:ext uri="{FF2B5EF4-FFF2-40B4-BE49-F238E27FC236}">
                <a16:creationId xmlns:a16="http://schemas.microsoft.com/office/drawing/2014/main" id="{16B577BB-43C0-458E-E945-D10B3A9E8A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0245" y="1961194"/>
            <a:ext cx="2743200" cy="5588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0DA659B-C75E-F3DB-3E46-635C5B23214A}"/>
              </a:ext>
            </a:extLst>
          </p:cNvPr>
          <p:cNvSpPr txBox="1"/>
          <p:nvPr/>
        </p:nvSpPr>
        <p:spPr>
          <a:xfrm rot="16200000">
            <a:off x="6790196" y="2419966"/>
            <a:ext cx="4603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700" b="0" i="0" kern="1200" dirty="0">
                <a:solidFill>
                  <a:schemeClr val="tx2">
                    <a:lumMod val="20000"/>
                    <a:lumOff val="80000"/>
                  </a:schemeClr>
                </a:solidFill>
                <a:effectLst/>
                <a:latin typeface="+mn-lt"/>
                <a:ea typeface="+mn-ea"/>
                <a:cs typeface="+mn-cs"/>
              </a:rPr>
              <a:t>© EICT</a:t>
            </a:r>
            <a:endParaRPr lang="en-DE" sz="700" dirty="0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B1B7D0-2BE7-4B5B-7E2D-EB0125764B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FFFDD3-9F02-E020-FBC6-ADDE3058C5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329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230186-74FC-49BD-0F37-848415E1FE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Objectiv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50A098-C85A-0E47-117F-DC34E43053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ssess the current technological capabilities of the vehicles and </a:t>
            </a:r>
            <a:r>
              <a:rPr lang="en-US" b="1" dirty="0"/>
              <a:t>integrate CAD enablers </a:t>
            </a:r>
            <a:r>
              <a:rPr lang="en-US" dirty="0"/>
              <a:t>to</a:t>
            </a:r>
            <a:r>
              <a:rPr lang="en-US" b="1" dirty="0"/>
              <a:t> </a:t>
            </a:r>
            <a:r>
              <a:rPr lang="en-US" dirty="0"/>
              <a:t>answer the research questions. </a:t>
            </a:r>
          </a:p>
          <a:p>
            <a:r>
              <a:rPr lang="en-US" dirty="0"/>
              <a:t>Define a set of </a:t>
            </a:r>
            <a:r>
              <a:rPr lang="en-US" b="1" dirty="0"/>
              <a:t>use cases </a:t>
            </a:r>
            <a:r>
              <a:rPr lang="en-US" dirty="0"/>
              <a:t>based on the identified vehicles functions and capabilities, including the description of the AD function, the enablers and their ODDs.</a:t>
            </a:r>
          </a:p>
          <a:p>
            <a:r>
              <a:rPr lang="en-US" dirty="0"/>
              <a:t>Carry out</a:t>
            </a:r>
            <a:r>
              <a:rPr lang="en-US" b="1" dirty="0"/>
              <a:t> pre-tests </a:t>
            </a:r>
            <a:r>
              <a:rPr lang="en-US" dirty="0"/>
              <a:t>to ensure the end-to-end process works in preparation for the main test operations in SP Operations.</a:t>
            </a:r>
          </a:p>
          <a:p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BA305E-8944-1121-9584-725027FE89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FEFCA7-4C99-99B5-A99A-B95A087F6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2313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2B6635-E41E-EA07-3B23-37DF95B49A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</a:t>
            </a:r>
            <a:r>
              <a:rPr lang="sv-SE" dirty="0"/>
              <a:t>se</a:t>
            </a:r>
            <a:r>
              <a:rPr lang="zh-CN" altLang="sv-SE" dirty="0"/>
              <a:t> </a:t>
            </a:r>
            <a:r>
              <a:rPr lang="sv-SE" altLang="zh-CN" dirty="0"/>
              <a:t>Case – Lane </a:t>
            </a:r>
            <a:r>
              <a:rPr lang="sv-SE" altLang="zh-CN" dirty="0" err="1"/>
              <a:t>Merge</a:t>
            </a:r>
            <a:endParaRPr lang="en-SE" dirty="0"/>
          </a:p>
        </p:txBody>
      </p:sp>
      <p:pic>
        <p:nvPicPr>
          <p:cNvPr id="7" name="Content Placeholder 6" descr="A picture containing screenshot&#10;&#10;Description automatically generated">
            <a:extLst>
              <a:ext uri="{FF2B5EF4-FFF2-40B4-BE49-F238E27FC236}">
                <a16:creationId xmlns:a16="http://schemas.microsoft.com/office/drawing/2014/main" id="{8C976116-74C2-F91C-0D92-3DE3AD62BD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7500" y="970373"/>
            <a:ext cx="5732417" cy="4539428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F2A98B6-ABFE-743F-1323-E496A46D8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39837D-F2F0-F58A-D23A-DEE22F07EA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12</a:t>
            </a:fld>
            <a:endParaRPr lang="en-US"/>
          </a:p>
        </p:txBody>
      </p:sp>
      <p:pic>
        <p:nvPicPr>
          <p:cNvPr id="9" name="Picture 8" descr="A picture containing screenshot&#10;&#10;Description automatically generated">
            <a:extLst>
              <a:ext uri="{FF2B5EF4-FFF2-40B4-BE49-F238E27FC236}">
                <a16:creationId xmlns:a16="http://schemas.microsoft.com/office/drawing/2014/main" id="{4E2CD394-7128-61E0-F767-6C12D26879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39262" y="936869"/>
            <a:ext cx="5489555" cy="457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9618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02A5C2-F404-FB79-24A4-FE535511F1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E" dirty="0"/>
              <a:t>Approach to Coordin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43A512-6D0F-8586-63B1-0B65C1FB2F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440000"/>
            <a:ext cx="4348490" cy="3888000"/>
          </a:xfrm>
        </p:spPr>
        <p:txBody>
          <a:bodyPr/>
          <a:lstStyle/>
          <a:p>
            <a:r>
              <a:rPr lang="en-S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y </a:t>
            </a:r>
            <a:r>
              <a:rPr lang="en-SE" sz="1800" dirty="0">
                <a:effectLst/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aring a vehicle’s planned maneuver with surrounding traffic participants</a:t>
            </a:r>
            <a:r>
              <a:rPr lang="en-S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inter-vehicle communications reduce the uncertainty associated with the prediction of future vehicle maneuvers. </a:t>
            </a:r>
            <a:r>
              <a:rPr lang="en-SE" sz="1800" dirty="0">
                <a:effectLst/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case of conflicting maneuvers</a:t>
            </a:r>
            <a:r>
              <a:rPr lang="en-S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vehicles are given the opportunity to disseminate a </a:t>
            </a:r>
            <a:r>
              <a:rPr lang="en-SE" sz="1800" dirty="0">
                <a:effectLst/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ired trajectory in addition to its planned trajectory</a:t>
            </a:r>
            <a:r>
              <a:rPr lang="en-S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Maneuver coordination is then established in a three-step implicit distributed fashion, based on common right-of-way rules and on both disseminated types of trajectories.</a:t>
            </a:r>
          </a:p>
          <a:p>
            <a:endParaRPr lang="en-S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1ADFDC-5C25-1DBF-D1F3-C4FC8CC5A2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i-Drive Enabler: Trajectory Planner / 2023-05-1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42B52A-E002-B04F-DC12-A1D98D9B2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13</a:t>
            </a:fld>
            <a:endParaRPr lang="en-US"/>
          </a:p>
        </p:txBody>
      </p:sp>
      <p:pic>
        <p:nvPicPr>
          <p:cNvPr id="6" name="Picture 5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3B65C7CF-A665-7C56-1907-E8FA1454E4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68490" y="841475"/>
            <a:ext cx="5731510" cy="1542415"/>
          </a:xfrm>
          <a:prstGeom prst="rect">
            <a:avLst/>
          </a:prstGeom>
        </p:spPr>
      </p:pic>
      <p:pic>
        <p:nvPicPr>
          <p:cNvPr id="7" name="Picture 6" descr="Graphical user interface, diagram, text, application, Word&#10;&#10;Description automatically generated">
            <a:extLst>
              <a:ext uri="{FF2B5EF4-FFF2-40B4-BE49-F238E27FC236}">
                <a16:creationId xmlns:a16="http://schemas.microsoft.com/office/drawing/2014/main" id="{84C7A238-C252-E45F-9FF2-76FAD4DBBD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4220" y="2512766"/>
            <a:ext cx="5731510" cy="2707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0730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13B1F7-CA5C-D226-75DE-10C9DAACC5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E" dirty="0"/>
              <a:t>MuCCA Experimental Valid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5DF0B3-0FCE-E0C9-46A4-75A665A42F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76CC47-744A-303F-EDD2-B846A9945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17DDD5-6662-D0F4-FCAF-44E7EEDE7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14</a:t>
            </a:fld>
            <a:endParaRPr lang="en-US"/>
          </a:p>
        </p:txBody>
      </p:sp>
      <p:pic>
        <p:nvPicPr>
          <p:cNvPr id="6" name="Picture 5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6D5041AD-0AA7-BBAA-FDEC-8C20AF42C1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625" y="904668"/>
            <a:ext cx="5731510" cy="1415415"/>
          </a:xfrm>
          <a:prstGeom prst="rect">
            <a:avLst/>
          </a:prstGeom>
        </p:spPr>
      </p:pic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07188EAD-D835-E14A-7CD1-167599742A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164" y="2498725"/>
            <a:ext cx="4438190" cy="3076782"/>
          </a:xfrm>
          <a:prstGeom prst="rect">
            <a:avLst/>
          </a:prstGeom>
        </p:spPr>
      </p:pic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816F1C50-EFAB-CEC3-989E-18EBCBB96C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1220" y="1894661"/>
            <a:ext cx="5731510" cy="3856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9164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6B0E0-05C0-CFFD-EAC3-AB1C6403D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E" dirty="0"/>
              <a:t>MuCCA Experimental Valid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F5AA80-6A2C-89E8-BC73-DC87AE6393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F116BC-468F-CF21-6508-6BB89764A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15</a:t>
            </a:fld>
            <a:endParaRPr lang="en-US"/>
          </a:p>
        </p:txBody>
      </p:sp>
      <p:pic>
        <p:nvPicPr>
          <p:cNvPr id="7" name="Picture 6" descr="A picture containing text, car&#10;&#10;Description automatically generated">
            <a:extLst>
              <a:ext uri="{FF2B5EF4-FFF2-40B4-BE49-F238E27FC236}">
                <a16:creationId xmlns:a16="http://schemas.microsoft.com/office/drawing/2014/main" id="{29AE94DE-9270-940B-D140-883D6D77A1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8422" y="276469"/>
            <a:ext cx="4093396" cy="2379576"/>
          </a:xfrm>
          <a:prstGeom prst="rect">
            <a:avLst/>
          </a:prstGeom>
        </p:spPr>
      </p:pic>
      <p:pic>
        <p:nvPicPr>
          <p:cNvPr id="8" name="Picture 7" descr="Chart&#10;&#10;Description automatically generated">
            <a:extLst>
              <a:ext uri="{FF2B5EF4-FFF2-40B4-BE49-F238E27FC236}">
                <a16:creationId xmlns:a16="http://schemas.microsoft.com/office/drawing/2014/main" id="{05ACB850-D265-1030-9F2C-C724128E2F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023" y="2219914"/>
            <a:ext cx="7305717" cy="3388991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5357D65-8696-303A-21C4-30BD0D0B6D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17318597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78D970-AD6C-8083-DB88-41F4A6CC4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E" dirty="0"/>
              <a:t>What is Different in Uur 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26A091-BB7C-942F-DE4D-1D0874E27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440000"/>
            <a:ext cx="4680690" cy="3888000"/>
          </a:xfrm>
        </p:spPr>
        <p:txBody>
          <a:bodyPr>
            <a:normAutofit fontScale="92500" lnSpcReduction="10000"/>
          </a:bodyPr>
          <a:lstStyle/>
          <a:p>
            <a:r>
              <a:rPr lang="en-SE" dirty="0"/>
              <a:t>Two </a:t>
            </a:r>
            <a:r>
              <a:rPr lang="en-SE" b="1" dirty="0"/>
              <a:t>different companies</a:t>
            </a:r>
            <a:r>
              <a:rPr lang="en-SE" dirty="0"/>
              <a:t>: Volvo Cars (VCC) and Volvo Technology (VTEC)</a:t>
            </a:r>
          </a:p>
          <a:p>
            <a:r>
              <a:rPr lang="en-SE" dirty="0"/>
              <a:t>Two different types of vehicles: </a:t>
            </a:r>
            <a:r>
              <a:rPr lang="en-SE" b="1" dirty="0"/>
              <a:t>car and truck</a:t>
            </a:r>
          </a:p>
          <a:p>
            <a:r>
              <a:rPr lang="en-SE" dirty="0"/>
              <a:t>Different automation levels: L3 and L1</a:t>
            </a:r>
          </a:p>
          <a:p>
            <a:r>
              <a:rPr lang="en-SE" b="1" dirty="0"/>
              <a:t>Compatible but different</a:t>
            </a:r>
            <a:r>
              <a:rPr lang="en-SE" dirty="0"/>
              <a:t> approaches to trajectory planning</a:t>
            </a:r>
          </a:p>
          <a:p>
            <a:r>
              <a:rPr lang="en-SE" dirty="0"/>
              <a:t>Trajectory prediction and planning for </a:t>
            </a:r>
            <a:r>
              <a:rPr lang="en-SE" b="1" dirty="0"/>
              <a:t>a human-driven vehicle</a:t>
            </a:r>
            <a:r>
              <a:rPr lang="en-SE" dirty="0"/>
              <a:t> on long distances</a:t>
            </a:r>
          </a:p>
          <a:p>
            <a:r>
              <a:rPr lang="en-SE" dirty="0"/>
              <a:t>Maneuver coordination message (MCM) format</a:t>
            </a:r>
          </a:p>
          <a:p>
            <a:r>
              <a:rPr lang="en-SE" dirty="0"/>
              <a:t>Independ</a:t>
            </a:r>
            <a:r>
              <a:rPr lang="en-GB" dirty="0"/>
              <a:t>e</a:t>
            </a:r>
            <a:r>
              <a:rPr lang="en-SE" dirty="0"/>
              <a:t>nt implementations</a:t>
            </a:r>
          </a:p>
          <a:p>
            <a:endParaRPr lang="en-SE" dirty="0"/>
          </a:p>
          <a:p>
            <a:endParaRPr lang="en-SE" dirty="0"/>
          </a:p>
          <a:p>
            <a:r>
              <a:rPr lang="en-SE" dirty="0"/>
              <a:t>Truck is CV – a collaborative vehicle</a:t>
            </a:r>
          </a:p>
          <a:p>
            <a:r>
              <a:rPr lang="en-SE" dirty="0"/>
              <a:t>Car is CAV – a collaborative autonomous vehic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EDF114-BC90-8EEB-C484-EC88018111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D6E7F4-FFA8-2FA3-4C06-C1EF71008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16</a:t>
            </a:fld>
            <a:endParaRPr lang="en-US"/>
          </a:p>
        </p:txBody>
      </p:sp>
      <p:pic>
        <p:nvPicPr>
          <p:cNvPr id="6" name="Content Placeholder 6" descr="A picture containing screenshot&#10;&#10;Description automatically generated">
            <a:extLst>
              <a:ext uri="{FF2B5EF4-FFF2-40B4-BE49-F238E27FC236}">
                <a16:creationId xmlns:a16="http://schemas.microsoft.com/office/drawing/2014/main" id="{25BB10B0-B458-B925-262F-A5960B47B9C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2763"/>
          <a:stretch/>
        </p:blipFill>
        <p:spPr>
          <a:xfrm>
            <a:off x="5400690" y="1924258"/>
            <a:ext cx="5732417" cy="2144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2679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9E0DAB-F890-AFDA-6A08-194C810BC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E" dirty="0"/>
              <a:t>Trajectory Prediction and Planning in Truc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64E923-95E4-F86D-4CF3-C7C878B99D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S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D566B6-7266-D956-BDF8-5E5B70DB70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A95420-65BB-A176-3F86-CDB194D09B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17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D8AA772-0632-8870-E841-7BC62F25E5C3}"/>
              </a:ext>
            </a:extLst>
          </p:cNvPr>
          <p:cNvGrpSpPr/>
          <p:nvPr/>
        </p:nvGrpSpPr>
        <p:grpSpPr>
          <a:xfrm>
            <a:off x="1955860" y="817296"/>
            <a:ext cx="7608280" cy="5376380"/>
            <a:chOff x="2011680" y="193945"/>
            <a:chExt cx="8811550" cy="6209534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3B712A-D735-2AE1-1BF3-1B3D8DC3438C}"/>
                </a:ext>
              </a:extLst>
            </p:cNvPr>
            <p:cNvGrpSpPr/>
            <p:nvPr/>
          </p:nvGrpSpPr>
          <p:grpSpPr>
            <a:xfrm>
              <a:off x="2011680" y="1371600"/>
              <a:ext cx="5548321" cy="5029200"/>
              <a:chOff x="1645920" y="1463040"/>
              <a:chExt cx="5548321" cy="5029200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DBDA1DF2-0B5A-8C3A-FDB3-4CC378A2329A}"/>
                  </a:ext>
                </a:extLst>
              </p:cNvPr>
              <p:cNvSpPr/>
              <p:nvPr/>
            </p:nvSpPr>
            <p:spPr>
              <a:xfrm>
                <a:off x="1645920" y="1463040"/>
                <a:ext cx="5548321" cy="5029200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 sz="1607" dirty="0"/>
              </a:p>
            </p:txBody>
          </p:sp>
          <p:sp>
            <p:nvSpPr>
              <p:cNvPr id="24" name="Segnaposto contenuto 2">
                <a:extLst>
                  <a:ext uri="{FF2B5EF4-FFF2-40B4-BE49-F238E27FC236}">
                    <a16:creationId xmlns:a16="http://schemas.microsoft.com/office/drawing/2014/main" id="{6D2670B7-3B9B-15BC-A8DA-0E4F1D2943B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377441" y="3454575"/>
                <a:ext cx="3939307" cy="299614"/>
              </a:xfrm>
              <a:prstGeom prst="rect">
                <a:avLst/>
              </a:prstGeom>
              <a:ln w="19050">
                <a:solidFill>
                  <a:srgbClr val="FF0000"/>
                </a:solidFill>
              </a:ln>
            </p:spPr>
            <p:txBody>
              <a:bodyPr vert="horz" wrap="square" lIns="0" tIns="0" rIns="0" bIns="0" rtlCol="0" anchor="ctr" anchorCtr="0">
                <a:spAutoFit/>
              </a:bodyPr>
              <a:lstStyle>
                <a:lvl1pPr marL="288000" indent="-288000" algn="l" defTabSz="914400" rtl="0" eaLnBrk="1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800"/>
                  </a:spcAft>
                  <a:buClr>
                    <a:schemeClr val="accent4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1pPr>
                <a:lvl2pPr marL="576000" indent="-288000" algn="l" defTabSz="914400" rtl="0" eaLnBrk="1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800"/>
                  </a:spcAft>
                  <a:buClr>
                    <a:schemeClr val="accent4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2pPr>
                <a:lvl3pPr marL="864000" indent="-288000" algn="l" defTabSz="914400" rtl="0" eaLnBrk="1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accent4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3pPr>
                <a:lvl4pPr marL="1152000" indent="-288000" algn="l" defTabSz="914400" rtl="0" eaLnBrk="1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accent4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4pPr>
                <a:lvl5pPr marL="1440000" indent="-288000" algn="l" defTabSz="914400" rtl="0" eaLnBrk="1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accent4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buNone/>
                </a:pPr>
                <a:r>
                  <a:rPr lang="en-US" sz="1701" dirty="0">
                    <a:solidFill>
                      <a:srgbClr val="FF0000"/>
                    </a:solidFill>
                  </a:rPr>
                  <a:t>Trajectory planning</a:t>
                </a:r>
              </a:p>
            </p:txBody>
          </p:sp>
          <p:sp>
            <p:nvSpPr>
              <p:cNvPr id="25" name="Segnaposto contenuto 2">
                <a:extLst>
                  <a:ext uri="{FF2B5EF4-FFF2-40B4-BE49-F238E27FC236}">
                    <a16:creationId xmlns:a16="http://schemas.microsoft.com/office/drawing/2014/main" id="{11AC0354-560C-85C3-7A1D-80E1EC359E3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57417" y="2269225"/>
                <a:ext cx="2008555" cy="604598"/>
              </a:xfrm>
              <a:prstGeom prst="rect">
                <a:avLst/>
              </a:prstGeom>
              <a:ln w="19050">
                <a:noFill/>
              </a:ln>
            </p:spPr>
            <p:txBody>
              <a:bodyPr vert="horz" wrap="square" lIns="0" tIns="0" rIns="0" bIns="0" rtlCol="0" anchor="ctr" anchorCtr="0">
                <a:spAutoFit/>
              </a:bodyPr>
              <a:lstStyle>
                <a:lvl1pPr marL="288000" indent="-288000" algn="l" defTabSz="914400" rtl="0" eaLnBrk="1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800"/>
                  </a:spcAft>
                  <a:buClr>
                    <a:schemeClr val="accent4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1pPr>
                <a:lvl2pPr marL="576000" indent="-288000" algn="l" defTabSz="914400" rtl="0" eaLnBrk="1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800"/>
                  </a:spcAft>
                  <a:buClr>
                    <a:schemeClr val="accent4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2pPr>
                <a:lvl3pPr marL="864000" indent="-288000" algn="l" defTabSz="914400" rtl="0" eaLnBrk="1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accent4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3pPr>
                <a:lvl4pPr marL="1152000" indent="-288000" algn="l" defTabSz="914400" rtl="0" eaLnBrk="1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accent4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4pPr>
                <a:lvl5pPr marL="1440000" indent="-288000" algn="l" defTabSz="914400" rtl="0" eaLnBrk="1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accent4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buNone/>
                </a:pPr>
                <a:r>
                  <a:rPr lang="en-US" sz="1701" dirty="0"/>
                  <a:t>Planned trajectory </a:t>
                </a:r>
                <a:r>
                  <a:rPr lang="en-US" sz="1701" u="sng" dirty="0"/>
                  <a:t>others</a:t>
                </a:r>
                <a:endParaRPr lang="en-US" sz="1323" u="sng" dirty="0"/>
              </a:p>
            </p:txBody>
          </p:sp>
          <p:cxnSp>
            <p:nvCxnSpPr>
              <p:cNvPr id="26" name="Straight Arrow Connector 25">
                <a:extLst>
                  <a:ext uri="{FF2B5EF4-FFF2-40B4-BE49-F238E27FC236}">
                    <a16:creationId xmlns:a16="http://schemas.microsoft.com/office/drawing/2014/main" id="{F8340532-0C26-167E-9FB8-6089C8F38E3C}"/>
                  </a:ext>
                </a:extLst>
              </p:cNvPr>
              <p:cNvCxnSpPr>
                <a:cxnSpLocks/>
                <a:stCxn id="30" idx="2"/>
                <a:endCxn id="31" idx="0"/>
              </p:cNvCxnSpPr>
              <p:nvPr/>
            </p:nvCxnSpPr>
            <p:spPr>
              <a:xfrm>
                <a:off x="3200399" y="1922918"/>
                <a:ext cx="0" cy="36308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7" name="Straight Arrow Connector 26">
                <a:extLst>
                  <a:ext uri="{FF2B5EF4-FFF2-40B4-BE49-F238E27FC236}">
                    <a16:creationId xmlns:a16="http://schemas.microsoft.com/office/drawing/2014/main" id="{83F8A049-A08E-CEAA-0CE0-29735C699C83}"/>
                  </a:ext>
                </a:extLst>
              </p:cNvPr>
              <p:cNvCxnSpPr>
                <a:cxnSpLocks/>
                <a:stCxn id="25" idx="2"/>
              </p:cNvCxnSpPr>
              <p:nvPr/>
            </p:nvCxnSpPr>
            <p:spPr>
              <a:xfrm>
                <a:off x="5661696" y="2873823"/>
                <a:ext cx="7585" cy="399618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C834B843-6E8D-B9FF-3DC5-C312EC048475}"/>
                  </a:ext>
                </a:extLst>
              </p:cNvPr>
              <p:cNvSpPr txBox="1"/>
              <p:nvPr/>
            </p:nvSpPr>
            <p:spPr>
              <a:xfrm>
                <a:off x="2606041" y="4663441"/>
                <a:ext cx="3474720" cy="1238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607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lanned trajectory </a:t>
                </a:r>
                <a:r>
                  <a:rPr lang="en-US" sz="1607" u="sng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own</a:t>
                </a:r>
                <a:r>
                  <a:rPr lang="en-US" sz="1607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</a:t>
                </a:r>
              </a:p>
              <a:p>
                <a:pPr marL="270005" indent="-270005">
                  <a:buFont typeface="Arial" panose="020B0604020202020204" pitchFamily="34" charset="0"/>
                  <a:buChar char="•"/>
                </a:pPr>
                <a:r>
                  <a:rPr lang="en-US" sz="1607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peed/acc (long.)</a:t>
                </a:r>
              </a:p>
              <a:p>
                <a:pPr marL="270005" indent="-270005">
                  <a:buFont typeface="Arial" panose="020B0604020202020204" pitchFamily="34" charset="0"/>
                  <a:buChar char="•"/>
                </a:pPr>
                <a:r>
                  <a:rPr lang="en-US" sz="1607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ane-change or not (lat.) when in merging position</a:t>
                </a:r>
              </a:p>
            </p:txBody>
          </p:sp>
          <p:cxnSp>
            <p:nvCxnSpPr>
              <p:cNvPr id="29" name="Straight Arrow Connector 28">
                <a:extLst>
                  <a:ext uri="{FF2B5EF4-FFF2-40B4-BE49-F238E27FC236}">
                    <a16:creationId xmlns:a16="http://schemas.microsoft.com/office/drawing/2014/main" id="{F3CE1EE0-EA2C-9733-21A4-F8057E8C67CE}"/>
                  </a:ext>
                </a:extLst>
              </p:cNvPr>
              <p:cNvCxnSpPr>
                <a:cxnSpLocks/>
                <a:stCxn id="24" idx="2"/>
                <a:endCxn id="28" idx="0"/>
              </p:cNvCxnSpPr>
              <p:nvPr/>
            </p:nvCxnSpPr>
            <p:spPr>
              <a:xfrm flipH="1">
                <a:off x="4343401" y="3754189"/>
                <a:ext cx="3693" cy="90925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30" name="Segnaposto contenuto 2">
                <a:extLst>
                  <a:ext uri="{FF2B5EF4-FFF2-40B4-BE49-F238E27FC236}">
                    <a16:creationId xmlns:a16="http://schemas.microsoft.com/office/drawing/2014/main" id="{19F6236E-AA85-CCC7-7AA1-C4AA258696E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011679" y="1645919"/>
                <a:ext cx="2377440" cy="276999"/>
              </a:xfrm>
              <a:prstGeom prst="rect">
                <a:avLst/>
              </a:prstGeom>
              <a:ln w="19050">
                <a:solidFill>
                  <a:srgbClr val="FF0000"/>
                </a:solidFill>
              </a:ln>
            </p:spPr>
            <p:txBody>
              <a:bodyPr vert="horz" wrap="square" lIns="0" tIns="0" rIns="0" bIns="0" rtlCol="0" anchor="ctr" anchorCtr="0">
                <a:spAutoFit/>
              </a:bodyPr>
              <a:lstStyle>
                <a:lvl1pPr marL="288000" indent="-288000" algn="l" defTabSz="914400" rtl="0" eaLnBrk="1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800"/>
                  </a:spcAft>
                  <a:buClr>
                    <a:schemeClr val="accent4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1pPr>
                <a:lvl2pPr marL="576000" indent="-288000" algn="l" defTabSz="914400" rtl="0" eaLnBrk="1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800"/>
                  </a:spcAft>
                  <a:buClr>
                    <a:schemeClr val="accent4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2pPr>
                <a:lvl3pPr marL="864000" indent="-288000" algn="l" defTabSz="914400" rtl="0" eaLnBrk="1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accent4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3pPr>
                <a:lvl4pPr marL="1152000" indent="-288000" algn="l" defTabSz="914400" rtl="0" eaLnBrk="1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accent4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4pPr>
                <a:lvl5pPr marL="1440000" indent="-288000" algn="l" defTabSz="914400" rtl="0" eaLnBrk="1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accent4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buNone/>
                </a:pPr>
                <a:r>
                  <a:rPr lang="en-US" sz="1701" dirty="0">
                    <a:solidFill>
                      <a:srgbClr val="FF0000"/>
                    </a:solidFill>
                  </a:rPr>
                  <a:t>Trajectory prediction</a:t>
                </a:r>
              </a:p>
            </p:txBody>
          </p:sp>
          <p:sp>
            <p:nvSpPr>
              <p:cNvPr id="31" name="Segnaposto contenuto 2">
                <a:extLst>
                  <a:ext uri="{FF2B5EF4-FFF2-40B4-BE49-F238E27FC236}">
                    <a16:creationId xmlns:a16="http://schemas.microsoft.com/office/drawing/2014/main" id="{A25A6F9F-2368-FB6E-C68C-55EB2B78C1B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285999" y="2285999"/>
                <a:ext cx="1828800" cy="553998"/>
              </a:xfrm>
              <a:prstGeom prst="rect">
                <a:avLst/>
              </a:prstGeom>
              <a:ln w="19050">
                <a:noFill/>
              </a:ln>
            </p:spPr>
            <p:txBody>
              <a:bodyPr vert="horz" wrap="square" lIns="0" tIns="0" rIns="0" bIns="0" rtlCol="0" anchor="ctr" anchorCtr="0">
                <a:spAutoFit/>
              </a:bodyPr>
              <a:lstStyle>
                <a:lvl1pPr marL="288000" indent="-288000" algn="l" defTabSz="914400" rtl="0" eaLnBrk="1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800"/>
                  </a:spcAft>
                  <a:buClr>
                    <a:schemeClr val="accent4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1pPr>
                <a:lvl2pPr marL="576000" indent="-288000" algn="l" defTabSz="914400" rtl="0" eaLnBrk="1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800"/>
                  </a:spcAft>
                  <a:buClr>
                    <a:schemeClr val="accent4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2pPr>
                <a:lvl3pPr marL="864000" indent="-288000" algn="l" defTabSz="914400" rtl="0" eaLnBrk="1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accent4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3pPr>
                <a:lvl4pPr marL="1152000" indent="-288000" algn="l" defTabSz="914400" rtl="0" eaLnBrk="1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accent4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4pPr>
                <a:lvl5pPr marL="1440000" indent="-288000" algn="l" defTabSz="914400" rtl="0" eaLnBrk="1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accent4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buNone/>
                </a:pPr>
                <a:r>
                  <a:rPr lang="en-US" sz="1701" dirty="0"/>
                  <a:t>Predicted trajectory </a:t>
                </a:r>
                <a:r>
                  <a:rPr lang="en-US" sz="1701" u="sng" dirty="0"/>
                  <a:t>own</a:t>
                </a:r>
                <a:endParaRPr lang="en-US" sz="1323" u="sng" dirty="0"/>
              </a:p>
            </p:txBody>
          </p:sp>
          <p:cxnSp>
            <p:nvCxnSpPr>
              <p:cNvPr id="32" name="Straight Arrow Connector 31">
                <a:extLst>
                  <a:ext uri="{FF2B5EF4-FFF2-40B4-BE49-F238E27FC236}">
                    <a16:creationId xmlns:a16="http://schemas.microsoft.com/office/drawing/2014/main" id="{3FAD485C-1D30-C8E1-FC58-99532CD0146D}"/>
                  </a:ext>
                </a:extLst>
              </p:cNvPr>
              <p:cNvCxnSpPr>
                <a:cxnSpLocks/>
                <a:stCxn id="31" idx="2"/>
              </p:cNvCxnSpPr>
              <p:nvPr/>
            </p:nvCxnSpPr>
            <p:spPr>
              <a:xfrm>
                <a:off x="3200399" y="2839997"/>
                <a:ext cx="0" cy="44916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E5F4A15-9CE6-84C9-6F3D-4505BF9D2073}"/>
                </a:ext>
              </a:extLst>
            </p:cNvPr>
            <p:cNvSpPr/>
            <p:nvPr/>
          </p:nvSpPr>
          <p:spPr>
            <a:xfrm>
              <a:off x="9540000" y="3275706"/>
              <a:ext cx="1283230" cy="551617"/>
            </a:xfrm>
            <a:prstGeom prst="ellipse">
              <a:avLst/>
            </a:prstGeom>
            <a:noFill/>
            <a:ln w="190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pPr algn="ctr"/>
              <a:r>
                <a:rPr lang="en-US" sz="1607" dirty="0">
                  <a:solidFill>
                    <a:schemeClr val="accent5"/>
                  </a:solidFill>
                </a:rPr>
                <a:t>Driver</a:t>
              </a:r>
              <a:endParaRPr lang="sv-SE" sz="1607" dirty="0">
                <a:solidFill>
                  <a:schemeClr val="accent5"/>
                </a:solidFill>
              </a:endParaRPr>
            </a:p>
          </p:txBody>
        </p:sp>
        <p:sp>
          <p:nvSpPr>
            <p:cNvPr id="10" name="Segnaposto contenuto 2">
              <a:extLst>
                <a:ext uri="{FF2B5EF4-FFF2-40B4-BE49-F238E27FC236}">
                  <a16:creationId xmlns:a16="http://schemas.microsoft.com/office/drawing/2014/main" id="{66283EDB-342B-E7AB-2F37-78F3F2BA2C7E}"/>
                </a:ext>
              </a:extLst>
            </p:cNvPr>
            <p:cNvSpPr txBox="1">
              <a:spLocks/>
            </p:cNvSpPr>
            <p:nvPr/>
          </p:nvSpPr>
          <p:spPr>
            <a:xfrm>
              <a:off x="2194559" y="6126480"/>
              <a:ext cx="3840481" cy="276999"/>
            </a:xfrm>
            <a:prstGeom prst="rect">
              <a:avLst/>
            </a:prstGeom>
            <a:ln w="19050">
              <a:noFill/>
            </a:ln>
          </p:spPr>
          <p:txBody>
            <a:bodyPr vert="horz" wrap="square" lIns="0" tIns="0" rIns="0" bIns="0" rtlCol="0" anchor="ctr" anchorCtr="0">
              <a:spAutoFit/>
            </a:bodyPr>
            <a:lstStyle>
              <a:lvl1pPr marL="288000" indent="-288000" algn="l" defTabSz="914400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800"/>
                </a:spcAft>
                <a:buClr>
                  <a:schemeClr val="accent4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576000" indent="-288000" algn="l" defTabSz="914400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800"/>
                </a:spcAft>
                <a:buClr>
                  <a:schemeClr val="accent4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2pPr>
              <a:lvl3pPr marL="864000" indent="-288000" algn="l" defTabSz="914400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4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3pPr>
              <a:lvl4pPr marL="1152000" indent="-288000" algn="l" defTabSz="914400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4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4pPr>
              <a:lvl5pPr marL="1440000" indent="-288000" algn="l" defTabSz="914400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4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None/>
              </a:pPr>
              <a:r>
                <a:rPr lang="en-US" sz="1701" dirty="0">
                  <a:solidFill>
                    <a:schemeClr val="accent6"/>
                  </a:solidFill>
                </a:rPr>
                <a:t>Loop at certain frequency</a:t>
              </a:r>
              <a:endParaRPr lang="en-US" sz="1323" dirty="0">
                <a:solidFill>
                  <a:schemeClr val="accent6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A4DA565-AF9F-AAB6-3A69-4D953D921830}"/>
                </a:ext>
              </a:extLst>
            </p:cNvPr>
            <p:cNvSpPr/>
            <p:nvPr/>
          </p:nvSpPr>
          <p:spPr>
            <a:xfrm>
              <a:off x="7560000" y="3086555"/>
              <a:ext cx="1904039" cy="944811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pPr algn="ctr"/>
              <a:r>
                <a:rPr lang="en-US" sz="1607" dirty="0">
                  <a:solidFill>
                    <a:schemeClr val="accent1"/>
                  </a:solidFill>
                </a:rPr>
                <a:t>Interacting vehicles</a:t>
              </a:r>
              <a:endParaRPr lang="sv-SE" sz="1607" dirty="0">
                <a:solidFill>
                  <a:schemeClr val="accent1"/>
                </a:solidFill>
              </a:endParaRPr>
            </a:p>
          </p:txBody>
        </p:sp>
        <p:cxnSp>
          <p:nvCxnSpPr>
            <p:cNvPr id="12" name="Connector: Elbow 61">
              <a:extLst>
                <a:ext uri="{FF2B5EF4-FFF2-40B4-BE49-F238E27FC236}">
                  <a16:creationId xmlns:a16="http://schemas.microsoft.com/office/drawing/2014/main" id="{78E363A6-CE76-523D-5D33-6E301E695834}"/>
                </a:ext>
              </a:extLst>
            </p:cNvPr>
            <p:cNvCxnSpPr>
              <a:cxnSpLocks/>
              <a:stCxn id="11" idx="0"/>
              <a:endCxn id="18" idx="3"/>
            </p:cNvCxnSpPr>
            <p:nvPr/>
          </p:nvCxnSpPr>
          <p:spPr>
            <a:xfrm rot="16200000" flipV="1">
              <a:off x="5533979" y="108513"/>
              <a:ext cx="2712886" cy="3243198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or: Elbow 59">
              <a:extLst>
                <a:ext uri="{FF2B5EF4-FFF2-40B4-BE49-F238E27FC236}">
                  <a16:creationId xmlns:a16="http://schemas.microsoft.com/office/drawing/2014/main" id="{D7E5EC26-2427-55E7-F57F-681A1D86602A}"/>
                </a:ext>
              </a:extLst>
            </p:cNvPr>
            <p:cNvCxnSpPr>
              <a:cxnSpLocks/>
              <a:stCxn id="28" idx="3"/>
              <a:endCxn id="11" idx="4"/>
            </p:cNvCxnSpPr>
            <p:nvPr/>
          </p:nvCxnSpPr>
          <p:spPr>
            <a:xfrm flipV="1">
              <a:off x="6446521" y="4031366"/>
              <a:ext cx="2065499" cy="1159682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or: Elbow 80">
              <a:extLst>
                <a:ext uri="{FF2B5EF4-FFF2-40B4-BE49-F238E27FC236}">
                  <a16:creationId xmlns:a16="http://schemas.microsoft.com/office/drawing/2014/main" id="{E7D0A88D-290A-E74E-5BD8-21438BF314A0}"/>
                </a:ext>
              </a:extLst>
            </p:cNvPr>
            <p:cNvCxnSpPr>
              <a:cxnSpLocks/>
              <a:stCxn id="28" idx="2"/>
              <a:endCxn id="9" idx="4"/>
            </p:cNvCxnSpPr>
            <p:nvPr/>
          </p:nvCxnSpPr>
          <p:spPr>
            <a:xfrm rot="5400000" flipH="1" flipV="1">
              <a:off x="6454003" y="2082482"/>
              <a:ext cx="1982770" cy="5472454"/>
            </a:xfrm>
            <a:prstGeom prst="bentConnector3">
              <a:avLst>
                <a:gd name="adj1" fmla="val -13316"/>
              </a:avLst>
            </a:prstGeom>
            <a:ln>
              <a:solidFill>
                <a:schemeClr val="accent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18CEFDF-4954-1D0B-5E81-00AE10510E44}"/>
                </a:ext>
              </a:extLst>
            </p:cNvPr>
            <p:cNvSpPr txBox="1"/>
            <p:nvPr/>
          </p:nvSpPr>
          <p:spPr>
            <a:xfrm>
              <a:off x="6480000" y="4588560"/>
              <a:ext cx="1080001" cy="63842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512" dirty="0">
                  <a:solidFill>
                    <a:schemeClr val="accent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V2V Message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B1F7C08-FBA0-3FB3-08B7-98599B8582CE}"/>
                </a:ext>
              </a:extLst>
            </p:cNvPr>
            <p:cNvSpPr txBox="1"/>
            <p:nvPr/>
          </p:nvSpPr>
          <p:spPr>
            <a:xfrm>
              <a:off x="6480000" y="5669280"/>
              <a:ext cx="1299491" cy="3720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512" dirty="0">
                  <a:solidFill>
                    <a:schemeClr val="accent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MI/ AD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3B36609-BB99-071F-2BFC-C0D75F72776A}"/>
                </a:ext>
              </a:extLst>
            </p:cNvPr>
            <p:cNvSpPr txBox="1"/>
            <p:nvPr/>
          </p:nvSpPr>
          <p:spPr>
            <a:xfrm>
              <a:off x="4035243" y="742044"/>
              <a:ext cx="1347837" cy="40894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dirty="0"/>
                <a:t>Date filter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71DFFBB-08DD-FEB8-F2DD-FE4720D386C4}"/>
                </a:ext>
              </a:extLst>
            </p:cNvPr>
            <p:cNvSpPr txBox="1"/>
            <p:nvPr/>
          </p:nvSpPr>
          <p:spPr>
            <a:xfrm>
              <a:off x="4171542" y="193945"/>
              <a:ext cx="1097280" cy="35944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7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Inputs</a:t>
              </a:r>
              <a:endParaRPr lang="sv-SE" sz="1607" dirty="0"/>
            </a:p>
          </p:txBody>
        </p:sp>
        <p:cxnSp>
          <p:nvCxnSpPr>
            <p:cNvPr id="19" name="Connector: Elbow 8">
              <a:extLst>
                <a:ext uri="{FF2B5EF4-FFF2-40B4-BE49-F238E27FC236}">
                  <a16:creationId xmlns:a16="http://schemas.microsoft.com/office/drawing/2014/main" id="{B25EBC8E-889D-18CE-5066-0F26E7F6EE6B}"/>
                </a:ext>
              </a:extLst>
            </p:cNvPr>
            <p:cNvCxnSpPr>
              <a:stCxn id="9" idx="0"/>
              <a:endCxn id="18" idx="3"/>
            </p:cNvCxnSpPr>
            <p:nvPr/>
          </p:nvCxnSpPr>
          <p:spPr>
            <a:xfrm rot="16200000" flipV="1">
              <a:off x="6274201" y="-631708"/>
              <a:ext cx="2902037" cy="4912793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53A820C9-FA64-76FE-F718-7741D4C19650}"/>
                </a:ext>
              </a:extLst>
            </p:cNvPr>
            <p:cNvCxnSpPr>
              <a:cxnSpLocks/>
              <a:stCxn id="18" idx="2"/>
              <a:endCxn id="17" idx="0"/>
            </p:cNvCxnSpPr>
            <p:nvPr/>
          </p:nvCxnSpPr>
          <p:spPr>
            <a:xfrm flipH="1">
              <a:off x="4709161" y="553393"/>
              <a:ext cx="11021" cy="18865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Connector: Elbow 17">
              <a:extLst>
                <a:ext uri="{FF2B5EF4-FFF2-40B4-BE49-F238E27FC236}">
                  <a16:creationId xmlns:a16="http://schemas.microsoft.com/office/drawing/2014/main" id="{3C04CA08-685C-207F-E531-7B1C857ACBDE}"/>
                </a:ext>
              </a:extLst>
            </p:cNvPr>
            <p:cNvCxnSpPr>
              <a:cxnSpLocks/>
              <a:stCxn id="17" idx="1"/>
              <a:endCxn id="30" idx="0"/>
            </p:cNvCxnSpPr>
            <p:nvPr/>
          </p:nvCxnSpPr>
          <p:spPr>
            <a:xfrm rot="10800000" flipV="1">
              <a:off x="3566158" y="946514"/>
              <a:ext cx="469084" cy="607964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Connector: Elbow 21">
              <a:extLst>
                <a:ext uri="{FF2B5EF4-FFF2-40B4-BE49-F238E27FC236}">
                  <a16:creationId xmlns:a16="http://schemas.microsoft.com/office/drawing/2014/main" id="{04611354-C5A0-61AD-92D8-B98907DBA25A}"/>
                </a:ext>
              </a:extLst>
            </p:cNvPr>
            <p:cNvCxnSpPr>
              <a:cxnSpLocks/>
              <a:stCxn id="17" idx="3"/>
              <a:endCxn id="25" idx="0"/>
            </p:cNvCxnSpPr>
            <p:nvPr/>
          </p:nvCxnSpPr>
          <p:spPr>
            <a:xfrm>
              <a:off x="5383080" y="946515"/>
              <a:ext cx="644375" cy="1231270"/>
            </a:xfrm>
            <a:prstGeom prst="bent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012824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4B5E725-00EF-80DA-9936-196ABF0A192B}"/>
              </a:ext>
            </a:extLst>
          </p:cNvPr>
          <p:cNvCxnSpPr/>
          <p:nvPr/>
        </p:nvCxnSpPr>
        <p:spPr>
          <a:xfrm>
            <a:off x="680422" y="850416"/>
            <a:ext cx="9864833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4DAA7B6-6916-9331-C6F6-B1F9D16744FA}"/>
              </a:ext>
            </a:extLst>
          </p:cNvPr>
          <p:cNvCxnSpPr/>
          <p:nvPr/>
        </p:nvCxnSpPr>
        <p:spPr>
          <a:xfrm>
            <a:off x="9864922" y="1190583"/>
            <a:ext cx="68033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E3B1C30-BD14-8B48-FE3B-1E9361F3EE57}"/>
              </a:ext>
            </a:extLst>
          </p:cNvPr>
          <p:cNvCxnSpPr/>
          <p:nvPr/>
        </p:nvCxnSpPr>
        <p:spPr>
          <a:xfrm>
            <a:off x="680422" y="1190583"/>
            <a:ext cx="71435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A556AAC-1041-B5D7-45A3-AFC687E702C6}"/>
              </a:ext>
            </a:extLst>
          </p:cNvPr>
          <p:cNvCxnSpPr>
            <a:cxnSpLocks/>
          </p:cNvCxnSpPr>
          <p:nvPr/>
        </p:nvCxnSpPr>
        <p:spPr>
          <a:xfrm flipV="1">
            <a:off x="5272672" y="1530750"/>
            <a:ext cx="2721333" cy="68033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EAD28BE-1CBC-C624-E914-5110EF7FE435}"/>
              </a:ext>
            </a:extLst>
          </p:cNvPr>
          <p:cNvCxnSpPr/>
          <p:nvPr/>
        </p:nvCxnSpPr>
        <p:spPr>
          <a:xfrm>
            <a:off x="7994005" y="1530750"/>
            <a:ext cx="13606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0075EF3-C65C-5DA6-C3A4-7158EF3BD02C}"/>
              </a:ext>
            </a:extLst>
          </p:cNvPr>
          <p:cNvCxnSpPr>
            <a:cxnSpLocks/>
          </p:cNvCxnSpPr>
          <p:nvPr/>
        </p:nvCxnSpPr>
        <p:spPr>
          <a:xfrm flipV="1">
            <a:off x="9354672" y="1190583"/>
            <a:ext cx="510250" cy="34016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6EE0DE7-33A9-FC0F-85D4-BF883B0D29D3}"/>
              </a:ext>
            </a:extLst>
          </p:cNvPr>
          <p:cNvCxnSpPr/>
          <p:nvPr/>
        </p:nvCxnSpPr>
        <p:spPr>
          <a:xfrm>
            <a:off x="7823922" y="1190583"/>
            <a:ext cx="2041000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CCB18B8-60FE-BCC3-79E5-D73EADCBDDAA}"/>
              </a:ext>
            </a:extLst>
          </p:cNvPr>
          <p:cNvCxnSpPr>
            <a:cxnSpLocks/>
          </p:cNvCxnSpPr>
          <p:nvPr/>
        </p:nvCxnSpPr>
        <p:spPr>
          <a:xfrm flipV="1">
            <a:off x="5102589" y="1190583"/>
            <a:ext cx="2721333" cy="68033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BA04385-761D-833B-C499-053F07A458E5}"/>
              </a:ext>
            </a:extLst>
          </p:cNvPr>
          <p:cNvCxnSpPr/>
          <p:nvPr/>
        </p:nvCxnSpPr>
        <p:spPr>
          <a:xfrm>
            <a:off x="680422" y="510250"/>
            <a:ext cx="986483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E03AF51-973E-1B56-B71E-11B5B361AEAD}"/>
              </a:ext>
            </a:extLst>
          </p:cNvPr>
          <p:cNvCxnSpPr/>
          <p:nvPr/>
        </p:nvCxnSpPr>
        <p:spPr>
          <a:xfrm>
            <a:off x="1871005" y="1870916"/>
            <a:ext cx="323158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C11F9C5F-7E84-D896-60BC-00BE44860BD1}"/>
              </a:ext>
            </a:extLst>
          </p:cNvPr>
          <p:cNvCxnSpPr/>
          <p:nvPr/>
        </p:nvCxnSpPr>
        <p:spPr>
          <a:xfrm>
            <a:off x="1871005" y="2211083"/>
            <a:ext cx="34016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B227EC6-7958-D5AD-01C3-02EBB7C995A4}"/>
              </a:ext>
            </a:extLst>
          </p:cNvPr>
          <p:cNvCxnSpPr/>
          <p:nvPr/>
        </p:nvCxnSpPr>
        <p:spPr>
          <a:xfrm>
            <a:off x="680421" y="4082000"/>
            <a:ext cx="10205000" cy="0"/>
          </a:xfrm>
          <a:prstGeom prst="line">
            <a:avLst/>
          </a:prstGeom>
          <a:ln w="2540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30C985DE-09FC-1BC6-A190-52539C553E96}"/>
              </a:ext>
            </a:extLst>
          </p:cNvPr>
          <p:cNvSpPr/>
          <p:nvPr/>
        </p:nvSpPr>
        <p:spPr>
          <a:xfrm>
            <a:off x="748455" y="4013966"/>
            <a:ext cx="136067" cy="13606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D41FE07-58D7-D952-29CA-F01172C39AEA}"/>
                  </a:ext>
                </a:extLst>
              </p:cNvPr>
              <p:cNvSpPr txBox="1"/>
              <p:nvPr/>
            </p:nvSpPr>
            <p:spPr>
              <a:xfrm>
                <a:off x="680422" y="3707816"/>
                <a:ext cx="345222" cy="3250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sv-SE" sz="1512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D41FE07-58D7-D952-29CA-F01172C39A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422" y="3707816"/>
                <a:ext cx="345222" cy="3250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S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8" name="Group 7">
            <a:extLst>
              <a:ext uri="{FF2B5EF4-FFF2-40B4-BE49-F238E27FC236}">
                <a16:creationId xmlns:a16="http://schemas.microsoft.com/office/drawing/2014/main" id="{811675C8-080E-AE60-485F-056DD51F7A96}"/>
              </a:ext>
            </a:extLst>
          </p:cNvPr>
          <p:cNvGrpSpPr/>
          <p:nvPr/>
        </p:nvGrpSpPr>
        <p:grpSpPr>
          <a:xfrm>
            <a:off x="1802972" y="578283"/>
            <a:ext cx="1525695" cy="694511"/>
            <a:chOff x="1908000" y="612000"/>
            <a:chExt cx="1614650" cy="735004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875A16F-940B-1E89-16D7-9FDD2CC5F6B5}"/>
                </a:ext>
              </a:extLst>
            </p:cNvPr>
            <p:cNvSpPr txBox="1"/>
            <p:nvPr/>
          </p:nvSpPr>
          <p:spPr>
            <a:xfrm>
              <a:off x="1908000" y="612000"/>
              <a:ext cx="1614650" cy="313168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323" b="1" dirty="0"/>
                <a:t>Plan (prediction)</a:t>
              </a:r>
              <a:endParaRPr lang="sv-SE" sz="1323" b="1" dirty="0"/>
            </a:p>
          </p:txBody>
        </p:sp>
        <p:pic>
          <p:nvPicPr>
            <p:cNvPr id="10" name="Graphic 9" descr="Truck with solid fill">
              <a:extLst>
                <a:ext uri="{FF2B5EF4-FFF2-40B4-BE49-F238E27FC236}">
                  <a16:creationId xmlns:a16="http://schemas.microsoft.com/office/drawing/2014/main" id="{802EE4F4-E46C-A982-B021-21220477E2E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980000" y="807004"/>
              <a:ext cx="540000" cy="540000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32CA872-F60C-1E28-C3D1-C4A0EE2F6F4C}"/>
              </a:ext>
            </a:extLst>
          </p:cNvPr>
          <p:cNvGrpSpPr/>
          <p:nvPr/>
        </p:nvGrpSpPr>
        <p:grpSpPr>
          <a:xfrm>
            <a:off x="2041086" y="1632800"/>
            <a:ext cx="680333" cy="680333"/>
            <a:chOff x="2159999" y="1728000"/>
            <a:chExt cx="720000" cy="720000"/>
          </a:xfrm>
        </p:grpSpPr>
        <p:pic>
          <p:nvPicPr>
            <p:cNvPr id="12" name="Graphic 11" descr="Car with solid fill">
              <a:extLst>
                <a:ext uri="{FF2B5EF4-FFF2-40B4-BE49-F238E27FC236}">
                  <a16:creationId xmlns:a16="http://schemas.microsoft.com/office/drawing/2014/main" id="{61194B5F-8FB6-9E5D-834B-577EDFA87F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160000" y="1908000"/>
              <a:ext cx="540000" cy="540000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B072921-CB48-D148-121F-519CAEF1D469}"/>
                </a:ext>
              </a:extLst>
            </p:cNvPr>
            <p:cNvSpPr txBox="1"/>
            <p:nvPr/>
          </p:nvSpPr>
          <p:spPr>
            <a:xfrm>
              <a:off x="2159999" y="1728000"/>
              <a:ext cx="720000" cy="313168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323" b="1" dirty="0"/>
                <a:t>Plan</a:t>
              </a:r>
              <a:endParaRPr lang="sv-SE" sz="1323" b="1" dirty="0"/>
            </a:p>
          </p:txBody>
        </p:sp>
      </p:grp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F157CCD3-8136-BCDD-FB6E-1A9B1DEBE6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Hi-Drive Enabler: Trajectory Planner / 2023-05-12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27D38C51-0644-07F8-3AC6-B063F44449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353B6-E861-49AF-B9E3-C3AC05F98B68}" type="slidenum">
              <a:rPr lang="sv-SE" smtClean="0"/>
              <a:t>1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801497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4B5E725-00EF-80DA-9936-196ABF0A192B}"/>
              </a:ext>
            </a:extLst>
          </p:cNvPr>
          <p:cNvCxnSpPr/>
          <p:nvPr/>
        </p:nvCxnSpPr>
        <p:spPr>
          <a:xfrm>
            <a:off x="680422" y="850416"/>
            <a:ext cx="9864833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4DAA7B6-6916-9331-C6F6-B1F9D16744FA}"/>
              </a:ext>
            </a:extLst>
          </p:cNvPr>
          <p:cNvCxnSpPr/>
          <p:nvPr/>
        </p:nvCxnSpPr>
        <p:spPr>
          <a:xfrm>
            <a:off x="9864922" y="1190583"/>
            <a:ext cx="68033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E3B1C30-BD14-8B48-FE3B-1E9361F3EE57}"/>
              </a:ext>
            </a:extLst>
          </p:cNvPr>
          <p:cNvCxnSpPr/>
          <p:nvPr/>
        </p:nvCxnSpPr>
        <p:spPr>
          <a:xfrm>
            <a:off x="680422" y="1190583"/>
            <a:ext cx="71435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A556AAC-1041-B5D7-45A3-AFC687E702C6}"/>
              </a:ext>
            </a:extLst>
          </p:cNvPr>
          <p:cNvCxnSpPr>
            <a:cxnSpLocks/>
          </p:cNvCxnSpPr>
          <p:nvPr/>
        </p:nvCxnSpPr>
        <p:spPr>
          <a:xfrm flipV="1">
            <a:off x="5272672" y="1530750"/>
            <a:ext cx="2721333" cy="68033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EAD28BE-1CBC-C624-E914-5110EF7FE435}"/>
              </a:ext>
            </a:extLst>
          </p:cNvPr>
          <p:cNvCxnSpPr/>
          <p:nvPr/>
        </p:nvCxnSpPr>
        <p:spPr>
          <a:xfrm>
            <a:off x="7994005" y="1530750"/>
            <a:ext cx="13606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0075EF3-C65C-5DA6-C3A4-7158EF3BD02C}"/>
              </a:ext>
            </a:extLst>
          </p:cNvPr>
          <p:cNvCxnSpPr>
            <a:cxnSpLocks/>
          </p:cNvCxnSpPr>
          <p:nvPr/>
        </p:nvCxnSpPr>
        <p:spPr>
          <a:xfrm flipV="1">
            <a:off x="9354672" y="1190583"/>
            <a:ext cx="510250" cy="34016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6EE0DE7-33A9-FC0F-85D4-BF883B0D29D3}"/>
              </a:ext>
            </a:extLst>
          </p:cNvPr>
          <p:cNvCxnSpPr/>
          <p:nvPr/>
        </p:nvCxnSpPr>
        <p:spPr>
          <a:xfrm>
            <a:off x="7823922" y="1190583"/>
            <a:ext cx="2041000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CCB18B8-60FE-BCC3-79E5-D73EADCBDDAA}"/>
              </a:ext>
            </a:extLst>
          </p:cNvPr>
          <p:cNvCxnSpPr>
            <a:cxnSpLocks/>
          </p:cNvCxnSpPr>
          <p:nvPr/>
        </p:nvCxnSpPr>
        <p:spPr>
          <a:xfrm flipV="1">
            <a:off x="5102589" y="1190583"/>
            <a:ext cx="2721333" cy="68033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BA04385-761D-833B-C499-053F07A458E5}"/>
              </a:ext>
            </a:extLst>
          </p:cNvPr>
          <p:cNvCxnSpPr/>
          <p:nvPr/>
        </p:nvCxnSpPr>
        <p:spPr>
          <a:xfrm>
            <a:off x="680422" y="510250"/>
            <a:ext cx="986483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E03AF51-973E-1B56-B71E-11B5B361AEAD}"/>
              </a:ext>
            </a:extLst>
          </p:cNvPr>
          <p:cNvCxnSpPr/>
          <p:nvPr/>
        </p:nvCxnSpPr>
        <p:spPr>
          <a:xfrm>
            <a:off x="1871005" y="1870916"/>
            <a:ext cx="323158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C11F9C5F-7E84-D896-60BC-00BE44860BD1}"/>
              </a:ext>
            </a:extLst>
          </p:cNvPr>
          <p:cNvCxnSpPr/>
          <p:nvPr/>
        </p:nvCxnSpPr>
        <p:spPr>
          <a:xfrm>
            <a:off x="1871005" y="2211083"/>
            <a:ext cx="34016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B227EC6-7958-D5AD-01C3-02EBB7C995A4}"/>
              </a:ext>
            </a:extLst>
          </p:cNvPr>
          <p:cNvCxnSpPr/>
          <p:nvPr/>
        </p:nvCxnSpPr>
        <p:spPr>
          <a:xfrm>
            <a:off x="680421" y="4082000"/>
            <a:ext cx="10205000" cy="0"/>
          </a:xfrm>
          <a:prstGeom prst="line">
            <a:avLst/>
          </a:prstGeom>
          <a:ln w="2540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30C985DE-09FC-1BC6-A190-52539C553E96}"/>
              </a:ext>
            </a:extLst>
          </p:cNvPr>
          <p:cNvSpPr/>
          <p:nvPr/>
        </p:nvSpPr>
        <p:spPr>
          <a:xfrm>
            <a:off x="748455" y="4013966"/>
            <a:ext cx="136067" cy="13606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D41FE07-58D7-D952-29CA-F01172C39AEA}"/>
                  </a:ext>
                </a:extLst>
              </p:cNvPr>
              <p:cNvSpPr txBox="1"/>
              <p:nvPr/>
            </p:nvSpPr>
            <p:spPr>
              <a:xfrm>
                <a:off x="680422" y="3707816"/>
                <a:ext cx="345222" cy="3250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sv-SE" sz="1512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D41FE07-58D7-D952-29CA-F01172C39A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422" y="3707816"/>
                <a:ext cx="345222" cy="3250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Oval 14">
            <a:extLst>
              <a:ext uri="{FF2B5EF4-FFF2-40B4-BE49-F238E27FC236}">
                <a16:creationId xmlns:a16="http://schemas.microsoft.com/office/drawing/2014/main" id="{DE3D9F97-6754-F079-BCAA-5ADF9B4DD221}"/>
              </a:ext>
            </a:extLst>
          </p:cNvPr>
          <p:cNvSpPr/>
          <p:nvPr/>
        </p:nvSpPr>
        <p:spPr>
          <a:xfrm>
            <a:off x="3061588" y="4013965"/>
            <a:ext cx="136067" cy="13606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7A247C3-7204-F719-523F-08BE4240C2E4}"/>
              </a:ext>
            </a:extLst>
          </p:cNvPr>
          <p:cNvSpPr/>
          <p:nvPr/>
        </p:nvSpPr>
        <p:spPr>
          <a:xfrm>
            <a:off x="3061588" y="4150032"/>
            <a:ext cx="136067" cy="136066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0FE587-A764-5630-E9A1-4B7D235E5440}"/>
              </a:ext>
            </a:extLst>
          </p:cNvPr>
          <p:cNvSpPr txBox="1"/>
          <p:nvPr/>
        </p:nvSpPr>
        <p:spPr>
          <a:xfrm>
            <a:off x="2721422" y="4252083"/>
            <a:ext cx="1832964" cy="295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23" dirty="0">
                <a:solidFill>
                  <a:srgbClr val="FF0000"/>
                </a:solidFill>
              </a:rPr>
              <a:t>Conflict detected</a:t>
            </a:r>
            <a:endParaRPr lang="sv-SE" sz="1323" dirty="0">
              <a:solidFill>
                <a:srgbClr val="FF0000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7D85B9-314C-9EC8-D16D-AD340DEE10DD}"/>
              </a:ext>
            </a:extLst>
          </p:cNvPr>
          <p:cNvSpPr txBox="1"/>
          <p:nvPr/>
        </p:nvSpPr>
        <p:spPr>
          <a:xfrm>
            <a:off x="2721422" y="4592249"/>
            <a:ext cx="1832964" cy="906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23" dirty="0">
                <a:solidFill>
                  <a:srgbClr val="FF0000"/>
                </a:solidFill>
              </a:rPr>
              <a:t>Car switches to new (non-conflict) planned trajectory and sends desired trajectory</a:t>
            </a:r>
            <a:endParaRPr lang="sv-SE" sz="1323" dirty="0">
              <a:solidFill>
                <a:srgbClr val="FF0000"/>
              </a:solidFill>
            </a:endParaRP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1899AEC0-D5FA-E917-181C-9D52B6623AA9}"/>
              </a:ext>
            </a:extLst>
          </p:cNvPr>
          <p:cNvSpPr/>
          <p:nvPr/>
        </p:nvSpPr>
        <p:spPr>
          <a:xfrm rot="10800000">
            <a:off x="3061588" y="3571750"/>
            <a:ext cx="136067" cy="136066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4714109-7AEB-2D83-76F3-49766749C570}"/>
                  </a:ext>
                </a:extLst>
              </p:cNvPr>
              <p:cNvSpPr txBox="1"/>
              <p:nvPr/>
            </p:nvSpPr>
            <p:spPr>
              <a:xfrm>
                <a:off x="2993555" y="3707816"/>
                <a:ext cx="345222" cy="3250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sv-SE" sz="1512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4714109-7AEB-2D83-76F3-49766749C5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93555" y="3707816"/>
                <a:ext cx="345222" cy="32502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TextBox 20">
            <a:extLst>
              <a:ext uri="{FF2B5EF4-FFF2-40B4-BE49-F238E27FC236}">
                <a16:creationId xmlns:a16="http://schemas.microsoft.com/office/drawing/2014/main" id="{60CD415E-C0A3-591F-7C00-1B8CE93A49B4}"/>
              </a:ext>
            </a:extLst>
          </p:cNvPr>
          <p:cNvSpPr txBox="1"/>
          <p:nvPr/>
        </p:nvSpPr>
        <p:spPr>
          <a:xfrm>
            <a:off x="2721422" y="2891416"/>
            <a:ext cx="2551250" cy="703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23" dirty="0">
                <a:solidFill>
                  <a:srgbClr val="FF0000"/>
                </a:solidFill>
              </a:rPr>
              <a:t>Truck starts computing new planned trajectory with planned speed reduction</a:t>
            </a:r>
            <a:endParaRPr lang="sv-SE" sz="1323" dirty="0">
              <a:solidFill>
                <a:srgbClr val="FF0000"/>
              </a:solidFill>
            </a:endParaRPr>
          </a:p>
        </p:txBody>
      </p:sp>
      <p:pic>
        <p:nvPicPr>
          <p:cNvPr id="23" name="Graphic 22" descr="Truck with solid fill">
            <a:extLst>
              <a:ext uri="{FF2B5EF4-FFF2-40B4-BE49-F238E27FC236}">
                <a16:creationId xmlns:a16="http://schemas.microsoft.com/office/drawing/2014/main" id="{5086110E-B6F5-8C80-E61F-73B6217345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71838" y="765052"/>
            <a:ext cx="510250" cy="510250"/>
          </a:xfrm>
          <a:prstGeom prst="rect">
            <a:avLst/>
          </a:prstGeom>
        </p:spPr>
      </p:pic>
      <p:pic>
        <p:nvPicPr>
          <p:cNvPr id="25" name="Graphic 24" descr="Car with solid fill">
            <a:extLst>
              <a:ext uri="{FF2B5EF4-FFF2-40B4-BE49-F238E27FC236}">
                <a16:creationId xmlns:a16="http://schemas.microsoft.com/office/drawing/2014/main" id="{670FB048-8C01-A4C0-FB8A-DB5841C4A07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71838" y="1802883"/>
            <a:ext cx="510250" cy="51025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25993AB7-6C72-F067-B5FE-22E3403EFA04}"/>
              </a:ext>
            </a:extLst>
          </p:cNvPr>
          <p:cNvSpPr txBox="1"/>
          <p:nvPr/>
        </p:nvSpPr>
        <p:spPr>
          <a:xfrm>
            <a:off x="3333720" y="1632800"/>
            <a:ext cx="1279839" cy="29591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sz="1323" b="1" dirty="0"/>
              <a:t>Plan + Desire</a:t>
            </a:r>
            <a:endParaRPr lang="sv-SE" sz="1323" b="1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00C3283-9198-5374-121A-2FC32589E830}"/>
              </a:ext>
            </a:extLst>
          </p:cNvPr>
          <p:cNvSpPr txBox="1"/>
          <p:nvPr/>
        </p:nvSpPr>
        <p:spPr>
          <a:xfrm>
            <a:off x="3401755" y="582428"/>
            <a:ext cx="2600030" cy="29591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sz="1323" b="1" dirty="0"/>
              <a:t>Plan (future speed reduction)</a:t>
            </a:r>
            <a:endParaRPr lang="sv-SE" sz="1323" b="1" dirty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6DF70CA-0230-F581-748B-8C428B0F64A3}"/>
              </a:ext>
            </a:extLst>
          </p:cNvPr>
          <p:cNvCxnSpPr/>
          <p:nvPr/>
        </p:nvCxnSpPr>
        <p:spPr>
          <a:xfrm>
            <a:off x="3095605" y="340166"/>
            <a:ext cx="0" cy="2551250"/>
          </a:xfrm>
          <a:prstGeom prst="line">
            <a:avLst/>
          </a:prstGeom>
          <a:ln w="12700">
            <a:solidFill>
              <a:srgbClr val="FF0000"/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B3749F9-0A23-8561-A28B-FEB7082359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Hi-Drive Enabler: Trajectory Planner / 2023-05-12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0C1BE4-2721-7D0E-4C26-A97EF99E42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353B6-E861-49AF-B9E3-C3AC05F98B68}" type="slidenum">
              <a:rPr lang="sv-SE" smtClean="0"/>
              <a:t>1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940549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1D0E64-FBDA-46E9-7967-56D9D3CE1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E" dirty="0"/>
              <a:t>Out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BEA3C-208E-4BA2-6ECE-5DB145CD9F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1C857B-5AED-E7BA-0DE1-B7BA97A416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2</a:t>
            </a:fld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6D8D577-F0A3-AC29-ED57-C5BDE53F6F84}"/>
              </a:ext>
            </a:extLst>
          </p:cNvPr>
          <p:cNvSpPr txBox="1">
            <a:spLocks/>
          </p:cNvSpPr>
          <p:nvPr/>
        </p:nvSpPr>
        <p:spPr>
          <a:xfrm>
            <a:off x="541975" y="2880765"/>
            <a:ext cx="6433360" cy="3325826"/>
          </a:xfrm>
          <a:prstGeom prst="rect">
            <a:avLst/>
          </a:prstGeom>
        </p:spPr>
        <p:txBody>
          <a:bodyPr/>
          <a:lstStyle>
            <a:lvl1pPr marL="18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375958" indent="-215996" algn="l" defTabSz="86398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52" indent="-215996" algn="l" defTabSz="86398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42" indent="-215996" algn="l" defTabSz="86398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34" indent="-215996" algn="l" defTabSz="86398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bout the Hi-Drive project</a:t>
            </a:r>
          </a:p>
          <a:p>
            <a:r>
              <a:rPr lang="en-US" dirty="0"/>
              <a:t>Enablers’ role in the project</a:t>
            </a:r>
          </a:p>
          <a:p>
            <a:r>
              <a:rPr lang="en-US" dirty="0"/>
              <a:t>Use case in the Swedish cluster</a:t>
            </a:r>
          </a:p>
          <a:p>
            <a:r>
              <a:rPr lang="en-US" dirty="0"/>
              <a:t>Approach to </a:t>
            </a:r>
            <a:r>
              <a:rPr lang="en-GB" dirty="0"/>
              <a:t>cooperative trajectory planning</a:t>
            </a:r>
            <a:endParaRPr lang="en-US" dirty="0"/>
          </a:p>
          <a:p>
            <a:r>
              <a:rPr lang="en-US" dirty="0"/>
              <a:t>Trajectory planning for trucks; driver’s models</a:t>
            </a:r>
          </a:p>
          <a:p>
            <a:r>
              <a:rPr lang="en-US" dirty="0"/>
              <a:t>Simulation environment</a:t>
            </a:r>
          </a:p>
          <a:p>
            <a:r>
              <a:rPr lang="en-US" dirty="0"/>
              <a:t>Integration work with VTEC</a:t>
            </a:r>
          </a:p>
          <a:p>
            <a:r>
              <a:rPr lang="en-US" dirty="0"/>
              <a:t>Future work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1478194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4B5E725-00EF-80DA-9936-196ABF0A192B}"/>
              </a:ext>
            </a:extLst>
          </p:cNvPr>
          <p:cNvCxnSpPr/>
          <p:nvPr/>
        </p:nvCxnSpPr>
        <p:spPr>
          <a:xfrm>
            <a:off x="680422" y="850416"/>
            <a:ext cx="9864833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4DAA7B6-6916-9331-C6F6-B1F9D16744FA}"/>
              </a:ext>
            </a:extLst>
          </p:cNvPr>
          <p:cNvCxnSpPr/>
          <p:nvPr/>
        </p:nvCxnSpPr>
        <p:spPr>
          <a:xfrm>
            <a:off x="9864922" y="1190583"/>
            <a:ext cx="68033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E3B1C30-BD14-8B48-FE3B-1E9361F3EE57}"/>
              </a:ext>
            </a:extLst>
          </p:cNvPr>
          <p:cNvCxnSpPr/>
          <p:nvPr/>
        </p:nvCxnSpPr>
        <p:spPr>
          <a:xfrm>
            <a:off x="680422" y="1190583"/>
            <a:ext cx="71435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A556AAC-1041-B5D7-45A3-AFC687E702C6}"/>
              </a:ext>
            </a:extLst>
          </p:cNvPr>
          <p:cNvCxnSpPr>
            <a:cxnSpLocks/>
          </p:cNvCxnSpPr>
          <p:nvPr/>
        </p:nvCxnSpPr>
        <p:spPr>
          <a:xfrm flipV="1">
            <a:off x="5272672" y="1530750"/>
            <a:ext cx="2721333" cy="68033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EAD28BE-1CBC-C624-E914-5110EF7FE435}"/>
              </a:ext>
            </a:extLst>
          </p:cNvPr>
          <p:cNvCxnSpPr/>
          <p:nvPr/>
        </p:nvCxnSpPr>
        <p:spPr>
          <a:xfrm>
            <a:off x="7994005" y="1530750"/>
            <a:ext cx="13606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0075EF3-C65C-5DA6-C3A4-7158EF3BD02C}"/>
              </a:ext>
            </a:extLst>
          </p:cNvPr>
          <p:cNvCxnSpPr>
            <a:cxnSpLocks/>
          </p:cNvCxnSpPr>
          <p:nvPr/>
        </p:nvCxnSpPr>
        <p:spPr>
          <a:xfrm flipV="1">
            <a:off x="9354672" y="1190583"/>
            <a:ext cx="510250" cy="34016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6EE0DE7-33A9-FC0F-85D4-BF883B0D29D3}"/>
              </a:ext>
            </a:extLst>
          </p:cNvPr>
          <p:cNvCxnSpPr/>
          <p:nvPr/>
        </p:nvCxnSpPr>
        <p:spPr>
          <a:xfrm>
            <a:off x="7823922" y="1190583"/>
            <a:ext cx="2041000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CCB18B8-60FE-BCC3-79E5-D73EADCBDDAA}"/>
              </a:ext>
            </a:extLst>
          </p:cNvPr>
          <p:cNvCxnSpPr>
            <a:cxnSpLocks/>
          </p:cNvCxnSpPr>
          <p:nvPr/>
        </p:nvCxnSpPr>
        <p:spPr>
          <a:xfrm flipV="1">
            <a:off x="5102589" y="1190583"/>
            <a:ext cx="2721333" cy="68033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BA04385-761D-833B-C499-053F07A458E5}"/>
              </a:ext>
            </a:extLst>
          </p:cNvPr>
          <p:cNvCxnSpPr/>
          <p:nvPr/>
        </p:nvCxnSpPr>
        <p:spPr>
          <a:xfrm>
            <a:off x="680422" y="510250"/>
            <a:ext cx="986483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E03AF51-973E-1B56-B71E-11B5B361AEAD}"/>
              </a:ext>
            </a:extLst>
          </p:cNvPr>
          <p:cNvCxnSpPr/>
          <p:nvPr/>
        </p:nvCxnSpPr>
        <p:spPr>
          <a:xfrm>
            <a:off x="1871005" y="1870916"/>
            <a:ext cx="323158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C11F9C5F-7E84-D896-60BC-00BE44860BD1}"/>
              </a:ext>
            </a:extLst>
          </p:cNvPr>
          <p:cNvCxnSpPr/>
          <p:nvPr/>
        </p:nvCxnSpPr>
        <p:spPr>
          <a:xfrm>
            <a:off x="1871005" y="2211083"/>
            <a:ext cx="34016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B227EC6-7958-D5AD-01C3-02EBB7C995A4}"/>
              </a:ext>
            </a:extLst>
          </p:cNvPr>
          <p:cNvCxnSpPr/>
          <p:nvPr/>
        </p:nvCxnSpPr>
        <p:spPr>
          <a:xfrm>
            <a:off x="680421" y="4082000"/>
            <a:ext cx="10205000" cy="0"/>
          </a:xfrm>
          <a:prstGeom prst="line">
            <a:avLst/>
          </a:prstGeom>
          <a:ln w="2540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30C985DE-09FC-1BC6-A190-52539C553E96}"/>
              </a:ext>
            </a:extLst>
          </p:cNvPr>
          <p:cNvSpPr/>
          <p:nvPr/>
        </p:nvSpPr>
        <p:spPr>
          <a:xfrm>
            <a:off x="748455" y="4013966"/>
            <a:ext cx="136067" cy="13606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D41FE07-58D7-D952-29CA-F01172C39AEA}"/>
                  </a:ext>
                </a:extLst>
              </p:cNvPr>
              <p:cNvSpPr txBox="1"/>
              <p:nvPr/>
            </p:nvSpPr>
            <p:spPr>
              <a:xfrm>
                <a:off x="680422" y="3707816"/>
                <a:ext cx="345222" cy="3250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sv-SE" sz="1512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D41FE07-58D7-D952-29CA-F01172C39A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422" y="3707816"/>
                <a:ext cx="345222" cy="3250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Oval 14">
            <a:extLst>
              <a:ext uri="{FF2B5EF4-FFF2-40B4-BE49-F238E27FC236}">
                <a16:creationId xmlns:a16="http://schemas.microsoft.com/office/drawing/2014/main" id="{DE3D9F97-6754-F079-BCAA-5ADF9B4DD221}"/>
              </a:ext>
            </a:extLst>
          </p:cNvPr>
          <p:cNvSpPr/>
          <p:nvPr/>
        </p:nvSpPr>
        <p:spPr>
          <a:xfrm>
            <a:off x="3061588" y="4013965"/>
            <a:ext cx="136067" cy="13606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7A247C3-7204-F719-523F-08BE4240C2E4}"/>
              </a:ext>
            </a:extLst>
          </p:cNvPr>
          <p:cNvSpPr/>
          <p:nvPr/>
        </p:nvSpPr>
        <p:spPr>
          <a:xfrm>
            <a:off x="3061588" y="4150032"/>
            <a:ext cx="136067" cy="136066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0FE587-A764-5630-E9A1-4B7D235E5440}"/>
              </a:ext>
            </a:extLst>
          </p:cNvPr>
          <p:cNvSpPr txBox="1"/>
          <p:nvPr/>
        </p:nvSpPr>
        <p:spPr>
          <a:xfrm>
            <a:off x="2721422" y="4252083"/>
            <a:ext cx="1832964" cy="295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23" dirty="0">
                <a:solidFill>
                  <a:srgbClr val="FF0000"/>
                </a:solidFill>
              </a:rPr>
              <a:t>Conflict detected</a:t>
            </a:r>
            <a:endParaRPr lang="sv-SE" sz="1323" dirty="0">
              <a:solidFill>
                <a:srgbClr val="FF0000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7D85B9-314C-9EC8-D16D-AD340DEE10DD}"/>
              </a:ext>
            </a:extLst>
          </p:cNvPr>
          <p:cNvSpPr txBox="1"/>
          <p:nvPr/>
        </p:nvSpPr>
        <p:spPr>
          <a:xfrm>
            <a:off x="2721422" y="4592249"/>
            <a:ext cx="1832964" cy="906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23" dirty="0">
                <a:solidFill>
                  <a:srgbClr val="FF0000"/>
                </a:solidFill>
              </a:rPr>
              <a:t>Car switches to new (non-conflict) planned trajectory and sends desired trajectory</a:t>
            </a:r>
            <a:endParaRPr lang="sv-SE" sz="1323" dirty="0">
              <a:solidFill>
                <a:srgbClr val="FF0000"/>
              </a:solidFill>
            </a:endParaRP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1899AEC0-D5FA-E917-181C-9D52B6623AA9}"/>
              </a:ext>
            </a:extLst>
          </p:cNvPr>
          <p:cNvSpPr/>
          <p:nvPr/>
        </p:nvSpPr>
        <p:spPr>
          <a:xfrm rot="10800000">
            <a:off x="3061588" y="3571750"/>
            <a:ext cx="136067" cy="136066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4714109-7AEB-2D83-76F3-49766749C570}"/>
                  </a:ext>
                </a:extLst>
              </p:cNvPr>
              <p:cNvSpPr txBox="1"/>
              <p:nvPr/>
            </p:nvSpPr>
            <p:spPr>
              <a:xfrm>
                <a:off x="2993555" y="3707816"/>
                <a:ext cx="345222" cy="3250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sv-SE" sz="1512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4714109-7AEB-2D83-76F3-49766749C5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93555" y="3707816"/>
                <a:ext cx="345222" cy="32502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TextBox 20">
            <a:extLst>
              <a:ext uri="{FF2B5EF4-FFF2-40B4-BE49-F238E27FC236}">
                <a16:creationId xmlns:a16="http://schemas.microsoft.com/office/drawing/2014/main" id="{60CD415E-C0A3-591F-7C00-1B8CE93A49B4}"/>
              </a:ext>
            </a:extLst>
          </p:cNvPr>
          <p:cNvSpPr txBox="1"/>
          <p:nvPr/>
        </p:nvSpPr>
        <p:spPr>
          <a:xfrm>
            <a:off x="2721422" y="2891416"/>
            <a:ext cx="2551250" cy="703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23" dirty="0">
                <a:solidFill>
                  <a:srgbClr val="FF0000"/>
                </a:solidFill>
              </a:rPr>
              <a:t>Truck starts computing new planned trajectory with planned speed reduction</a:t>
            </a:r>
            <a:endParaRPr lang="sv-SE" sz="1323" dirty="0">
              <a:solidFill>
                <a:srgbClr val="FF0000"/>
              </a:solidFill>
            </a:endParaRPr>
          </a:p>
        </p:txBody>
      </p:sp>
      <p:pic>
        <p:nvPicPr>
          <p:cNvPr id="23" name="Graphic 22" descr="Truck with solid fill">
            <a:extLst>
              <a:ext uri="{FF2B5EF4-FFF2-40B4-BE49-F238E27FC236}">
                <a16:creationId xmlns:a16="http://schemas.microsoft.com/office/drawing/2014/main" id="{5086110E-B6F5-8C80-E61F-73B6217345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71838" y="765052"/>
            <a:ext cx="510250" cy="510250"/>
          </a:xfrm>
          <a:prstGeom prst="rect">
            <a:avLst/>
          </a:prstGeom>
        </p:spPr>
      </p:pic>
      <p:pic>
        <p:nvPicPr>
          <p:cNvPr id="25" name="Graphic 24" descr="Car with solid fill">
            <a:extLst>
              <a:ext uri="{FF2B5EF4-FFF2-40B4-BE49-F238E27FC236}">
                <a16:creationId xmlns:a16="http://schemas.microsoft.com/office/drawing/2014/main" id="{670FB048-8C01-A4C0-FB8A-DB5841C4A07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71838" y="1802883"/>
            <a:ext cx="510250" cy="51025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25993AB7-6C72-F067-B5FE-22E3403EFA04}"/>
              </a:ext>
            </a:extLst>
          </p:cNvPr>
          <p:cNvSpPr txBox="1"/>
          <p:nvPr/>
        </p:nvSpPr>
        <p:spPr>
          <a:xfrm>
            <a:off x="3333720" y="1632800"/>
            <a:ext cx="1288151" cy="29591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sz="1323" b="1" dirty="0"/>
              <a:t>Plan + Desire</a:t>
            </a:r>
            <a:endParaRPr lang="sv-SE" sz="1323" b="1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00C3283-9198-5374-121A-2FC32589E830}"/>
              </a:ext>
            </a:extLst>
          </p:cNvPr>
          <p:cNvSpPr txBox="1"/>
          <p:nvPr/>
        </p:nvSpPr>
        <p:spPr>
          <a:xfrm>
            <a:off x="3401755" y="582428"/>
            <a:ext cx="2551247" cy="29591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sz="1323" b="1" dirty="0"/>
              <a:t>Plan (future speed reduction)</a:t>
            </a:r>
            <a:endParaRPr lang="sv-SE" sz="1323" b="1" dirty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6DF70CA-0230-F581-748B-8C428B0F64A3}"/>
              </a:ext>
            </a:extLst>
          </p:cNvPr>
          <p:cNvCxnSpPr/>
          <p:nvPr/>
        </p:nvCxnSpPr>
        <p:spPr>
          <a:xfrm>
            <a:off x="3129622" y="340166"/>
            <a:ext cx="0" cy="2551250"/>
          </a:xfrm>
          <a:prstGeom prst="line">
            <a:avLst/>
          </a:prstGeom>
          <a:ln w="12700">
            <a:solidFill>
              <a:srgbClr val="FF0000"/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A1222D74-E2E1-9F0E-04CA-1DFCDAF438FF}"/>
              </a:ext>
            </a:extLst>
          </p:cNvPr>
          <p:cNvSpPr/>
          <p:nvPr/>
        </p:nvSpPr>
        <p:spPr>
          <a:xfrm>
            <a:off x="5953005" y="4013965"/>
            <a:ext cx="136067" cy="13606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1A56AB3B-2509-A7AD-631D-20744388BBE4}"/>
                  </a:ext>
                </a:extLst>
              </p:cNvPr>
              <p:cNvSpPr txBox="1"/>
              <p:nvPr/>
            </p:nvSpPr>
            <p:spPr>
              <a:xfrm>
                <a:off x="5884972" y="3707816"/>
                <a:ext cx="345222" cy="3250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sv-SE" sz="1512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1A56AB3B-2509-A7AD-631D-20744388BB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84972" y="3707816"/>
                <a:ext cx="345222" cy="325025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E6ECAB32-96C5-B560-09C8-8E2A93BEB4F1}"/>
              </a:ext>
            </a:extLst>
          </p:cNvPr>
          <p:cNvSpPr/>
          <p:nvPr/>
        </p:nvSpPr>
        <p:spPr>
          <a:xfrm rot="10800000">
            <a:off x="5953005" y="3571750"/>
            <a:ext cx="136067" cy="136066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C1A7E2-04D5-5705-44ED-E31F44B9AF24}"/>
              </a:ext>
            </a:extLst>
          </p:cNvPr>
          <p:cNvCxnSpPr/>
          <p:nvPr/>
        </p:nvCxnSpPr>
        <p:spPr>
          <a:xfrm>
            <a:off x="6021038" y="340166"/>
            <a:ext cx="0" cy="2347150"/>
          </a:xfrm>
          <a:prstGeom prst="line">
            <a:avLst/>
          </a:prstGeom>
          <a:ln w="12700">
            <a:solidFill>
              <a:srgbClr val="FF0000"/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7742D282-D468-D612-8424-A834008B7FC3}"/>
              </a:ext>
            </a:extLst>
          </p:cNvPr>
          <p:cNvSpPr txBox="1"/>
          <p:nvPr/>
        </p:nvSpPr>
        <p:spPr>
          <a:xfrm>
            <a:off x="5442755" y="2653299"/>
            <a:ext cx="2381166" cy="906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23" dirty="0">
                <a:solidFill>
                  <a:srgbClr val="FF0000"/>
                </a:solidFill>
              </a:rPr>
              <a:t>Truck stops computing new planned trajectory</a:t>
            </a:r>
            <a:br>
              <a:rPr lang="en-US" sz="1323" dirty="0">
                <a:solidFill>
                  <a:srgbClr val="FF0000"/>
                </a:solidFill>
              </a:rPr>
            </a:br>
            <a:r>
              <a:rPr lang="en-US" sz="1323" dirty="0">
                <a:solidFill>
                  <a:srgbClr val="FF0000"/>
                </a:solidFill>
              </a:rPr>
              <a:t>Speed advice sent to driver</a:t>
            </a:r>
            <a:br>
              <a:rPr lang="en-US" sz="1323" dirty="0">
                <a:solidFill>
                  <a:srgbClr val="FF0000"/>
                </a:solidFill>
              </a:rPr>
            </a:br>
            <a:r>
              <a:rPr lang="en-US" sz="1323" dirty="0">
                <a:solidFill>
                  <a:srgbClr val="FF0000"/>
                </a:solidFill>
              </a:rPr>
              <a:t>Truck speed reduced</a:t>
            </a:r>
            <a:endParaRPr lang="sv-SE" sz="1323" dirty="0">
              <a:solidFill>
                <a:srgbClr val="FF0000"/>
              </a:solidFill>
            </a:endParaRP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0B6789A5-0981-9D4B-DC8A-9D4495CE39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Hi-Drive Enabler: Trajectory Planner / 2023-05-12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4E3A672A-DD4D-1250-487F-F5B3F34DF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353B6-E861-49AF-B9E3-C3AC05F98B68}" type="slidenum">
              <a:rPr lang="sv-SE" smtClean="0"/>
              <a:t>2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744496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>
            <a:extLst>
              <a:ext uri="{FF2B5EF4-FFF2-40B4-BE49-F238E27FC236}">
                <a16:creationId xmlns:a16="http://schemas.microsoft.com/office/drawing/2014/main" id="{D75CAFB6-5D7D-4075-A749-BE3708CF86B0}"/>
              </a:ext>
            </a:extLst>
          </p:cNvPr>
          <p:cNvGrpSpPr/>
          <p:nvPr/>
        </p:nvGrpSpPr>
        <p:grpSpPr>
          <a:xfrm>
            <a:off x="3129622" y="170083"/>
            <a:ext cx="2902757" cy="6123000"/>
            <a:chOff x="3312000" y="180000"/>
            <a:chExt cx="3072001" cy="648000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C136878-6A9D-1509-968B-2D5B4FEC52C3}"/>
                </a:ext>
              </a:extLst>
            </p:cNvPr>
            <p:cNvSpPr/>
            <p:nvPr/>
          </p:nvSpPr>
          <p:spPr>
            <a:xfrm>
              <a:off x="3312000" y="180000"/>
              <a:ext cx="3060000" cy="6480000"/>
            </a:xfrm>
            <a:prstGeom prst="rect">
              <a:avLst/>
            </a:prstGeom>
            <a:solidFill>
              <a:srgbClr val="FF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607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15C7A9C-E1AC-C445-87E3-A36FE288D909}"/>
                </a:ext>
              </a:extLst>
            </p:cNvPr>
            <p:cNvSpPr txBox="1"/>
            <p:nvPr/>
          </p:nvSpPr>
          <p:spPr>
            <a:xfrm>
              <a:off x="3780000" y="6120000"/>
              <a:ext cx="2604001" cy="4055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90" b="1" dirty="0">
                  <a:solidFill>
                    <a:srgbClr val="FF0000"/>
                  </a:solidFill>
                </a:rPr>
                <a:t>Negotiation period</a:t>
              </a:r>
              <a:endParaRPr lang="sv-SE" sz="1890" b="1" dirty="0">
                <a:solidFill>
                  <a:srgbClr val="FF0000"/>
                </a:solidFill>
              </a:endParaRPr>
            </a:p>
          </p:txBody>
        </p:sp>
      </p:grp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4B5E725-00EF-80DA-9936-196ABF0A192B}"/>
              </a:ext>
            </a:extLst>
          </p:cNvPr>
          <p:cNvCxnSpPr/>
          <p:nvPr/>
        </p:nvCxnSpPr>
        <p:spPr>
          <a:xfrm>
            <a:off x="680422" y="850416"/>
            <a:ext cx="9864833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4DAA7B6-6916-9331-C6F6-B1F9D16744FA}"/>
              </a:ext>
            </a:extLst>
          </p:cNvPr>
          <p:cNvCxnSpPr/>
          <p:nvPr/>
        </p:nvCxnSpPr>
        <p:spPr>
          <a:xfrm>
            <a:off x="9864922" y="1190583"/>
            <a:ext cx="68033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E3B1C30-BD14-8B48-FE3B-1E9361F3EE57}"/>
              </a:ext>
            </a:extLst>
          </p:cNvPr>
          <p:cNvCxnSpPr/>
          <p:nvPr/>
        </p:nvCxnSpPr>
        <p:spPr>
          <a:xfrm>
            <a:off x="680422" y="1190583"/>
            <a:ext cx="71435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A556AAC-1041-B5D7-45A3-AFC687E702C6}"/>
              </a:ext>
            </a:extLst>
          </p:cNvPr>
          <p:cNvCxnSpPr>
            <a:cxnSpLocks/>
          </p:cNvCxnSpPr>
          <p:nvPr/>
        </p:nvCxnSpPr>
        <p:spPr>
          <a:xfrm flipV="1">
            <a:off x="5272672" y="1530750"/>
            <a:ext cx="2721333" cy="68033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EAD28BE-1CBC-C624-E914-5110EF7FE435}"/>
              </a:ext>
            </a:extLst>
          </p:cNvPr>
          <p:cNvCxnSpPr/>
          <p:nvPr/>
        </p:nvCxnSpPr>
        <p:spPr>
          <a:xfrm>
            <a:off x="7994005" y="1530750"/>
            <a:ext cx="13606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0075EF3-C65C-5DA6-C3A4-7158EF3BD02C}"/>
              </a:ext>
            </a:extLst>
          </p:cNvPr>
          <p:cNvCxnSpPr>
            <a:cxnSpLocks/>
          </p:cNvCxnSpPr>
          <p:nvPr/>
        </p:nvCxnSpPr>
        <p:spPr>
          <a:xfrm flipV="1">
            <a:off x="9354672" y="1190583"/>
            <a:ext cx="510250" cy="34016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6EE0DE7-33A9-FC0F-85D4-BF883B0D29D3}"/>
              </a:ext>
            </a:extLst>
          </p:cNvPr>
          <p:cNvCxnSpPr/>
          <p:nvPr/>
        </p:nvCxnSpPr>
        <p:spPr>
          <a:xfrm>
            <a:off x="7823922" y="1190583"/>
            <a:ext cx="2041000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CCB18B8-60FE-BCC3-79E5-D73EADCBDDAA}"/>
              </a:ext>
            </a:extLst>
          </p:cNvPr>
          <p:cNvCxnSpPr>
            <a:cxnSpLocks/>
          </p:cNvCxnSpPr>
          <p:nvPr/>
        </p:nvCxnSpPr>
        <p:spPr>
          <a:xfrm flipV="1">
            <a:off x="5102589" y="1190583"/>
            <a:ext cx="2721333" cy="68033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BA04385-761D-833B-C499-053F07A458E5}"/>
              </a:ext>
            </a:extLst>
          </p:cNvPr>
          <p:cNvCxnSpPr/>
          <p:nvPr/>
        </p:nvCxnSpPr>
        <p:spPr>
          <a:xfrm>
            <a:off x="680422" y="510250"/>
            <a:ext cx="986483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E03AF51-973E-1B56-B71E-11B5B361AEAD}"/>
              </a:ext>
            </a:extLst>
          </p:cNvPr>
          <p:cNvCxnSpPr/>
          <p:nvPr/>
        </p:nvCxnSpPr>
        <p:spPr>
          <a:xfrm>
            <a:off x="1871005" y="1870916"/>
            <a:ext cx="323158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C11F9C5F-7E84-D896-60BC-00BE44860BD1}"/>
              </a:ext>
            </a:extLst>
          </p:cNvPr>
          <p:cNvCxnSpPr/>
          <p:nvPr/>
        </p:nvCxnSpPr>
        <p:spPr>
          <a:xfrm>
            <a:off x="1871005" y="2211083"/>
            <a:ext cx="34016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B227EC6-7958-D5AD-01C3-02EBB7C995A4}"/>
              </a:ext>
            </a:extLst>
          </p:cNvPr>
          <p:cNvCxnSpPr/>
          <p:nvPr/>
        </p:nvCxnSpPr>
        <p:spPr>
          <a:xfrm>
            <a:off x="680421" y="4082000"/>
            <a:ext cx="10205000" cy="0"/>
          </a:xfrm>
          <a:prstGeom prst="line">
            <a:avLst/>
          </a:prstGeom>
          <a:ln w="2540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30C985DE-09FC-1BC6-A190-52539C553E96}"/>
              </a:ext>
            </a:extLst>
          </p:cNvPr>
          <p:cNvSpPr/>
          <p:nvPr/>
        </p:nvSpPr>
        <p:spPr>
          <a:xfrm>
            <a:off x="748455" y="4013966"/>
            <a:ext cx="136067" cy="13606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D41FE07-58D7-D952-29CA-F01172C39AEA}"/>
                  </a:ext>
                </a:extLst>
              </p:cNvPr>
              <p:cNvSpPr txBox="1"/>
              <p:nvPr/>
            </p:nvSpPr>
            <p:spPr>
              <a:xfrm>
                <a:off x="680422" y="3707816"/>
                <a:ext cx="345222" cy="3250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sv-SE" sz="1512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D41FE07-58D7-D952-29CA-F01172C39A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422" y="3707816"/>
                <a:ext cx="345222" cy="3250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Oval 14">
            <a:extLst>
              <a:ext uri="{FF2B5EF4-FFF2-40B4-BE49-F238E27FC236}">
                <a16:creationId xmlns:a16="http://schemas.microsoft.com/office/drawing/2014/main" id="{DE3D9F97-6754-F079-BCAA-5ADF9B4DD221}"/>
              </a:ext>
            </a:extLst>
          </p:cNvPr>
          <p:cNvSpPr/>
          <p:nvPr/>
        </p:nvSpPr>
        <p:spPr>
          <a:xfrm>
            <a:off x="3061588" y="4013965"/>
            <a:ext cx="136067" cy="13606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7A247C3-7204-F719-523F-08BE4240C2E4}"/>
              </a:ext>
            </a:extLst>
          </p:cNvPr>
          <p:cNvSpPr/>
          <p:nvPr/>
        </p:nvSpPr>
        <p:spPr>
          <a:xfrm>
            <a:off x="3061588" y="4150032"/>
            <a:ext cx="136067" cy="136066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0FE587-A764-5630-E9A1-4B7D235E5440}"/>
              </a:ext>
            </a:extLst>
          </p:cNvPr>
          <p:cNvSpPr txBox="1"/>
          <p:nvPr/>
        </p:nvSpPr>
        <p:spPr>
          <a:xfrm>
            <a:off x="2721422" y="4252083"/>
            <a:ext cx="1832964" cy="295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23" dirty="0">
                <a:solidFill>
                  <a:srgbClr val="FF0000"/>
                </a:solidFill>
              </a:rPr>
              <a:t>Conflict detected</a:t>
            </a:r>
            <a:endParaRPr lang="sv-SE" sz="1323" dirty="0">
              <a:solidFill>
                <a:srgbClr val="FF0000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7D85B9-314C-9EC8-D16D-AD340DEE10DD}"/>
              </a:ext>
            </a:extLst>
          </p:cNvPr>
          <p:cNvSpPr txBox="1"/>
          <p:nvPr/>
        </p:nvSpPr>
        <p:spPr>
          <a:xfrm>
            <a:off x="2721422" y="4592249"/>
            <a:ext cx="1832964" cy="906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23" dirty="0">
                <a:solidFill>
                  <a:srgbClr val="FF0000"/>
                </a:solidFill>
              </a:rPr>
              <a:t>Car switches to new (non-conflict) planned trajectory and sends desired trajectory</a:t>
            </a:r>
            <a:endParaRPr lang="sv-SE" sz="1323" dirty="0">
              <a:solidFill>
                <a:srgbClr val="FF0000"/>
              </a:solidFill>
            </a:endParaRP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1899AEC0-D5FA-E917-181C-9D52B6623AA9}"/>
              </a:ext>
            </a:extLst>
          </p:cNvPr>
          <p:cNvSpPr/>
          <p:nvPr/>
        </p:nvSpPr>
        <p:spPr>
          <a:xfrm rot="10800000">
            <a:off x="3061588" y="3571750"/>
            <a:ext cx="136067" cy="136066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4714109-7AEB-2D83-76F3-49766749C570}"/>
                  </a:ext>
                </a:extLst>
              </p:cNvPr>
              <p:cNvSpPr txBox="1"/>
              <p:nvPr/>
            </p:nvSpPr>
            <p:spPr>
              <a:xfrm>
                <a:off x="2993555" y="3707816"/>
                <a:ext cx="345222" cy="3250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sv-SE" sz="1512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4714109-7AEB-2D83-76F3-49766749C5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93555" y="3707816"/>
                <a:ext cx="345222" cy="32502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TextBox 20">
            <a:extLst>
              <a:ext uri="{FF2B5EF4-FFF2-40B4-BE49-F238E27FC236}">
                <a16:creationId xmlns:a16="http://schemas.microsoft.com/office/drawing/2014/main" id="{60CD415E-C0A3-591F-7C00-1B8CE93A49B4}"/>
              </a:ext>
            </a:extLst>
          </p:cNvPr>
          <p:cNvSpPr txBox="1"/>
          <p:nvPr/>
        </p:nvSpPr>
        <p:spPr>
          <a:xfrm>
            <a:off x="2721422" y="2891416"/>
            <a:ext cx="2551250" cy="703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23" dirty="0">
                <a:solidFill>
                  <a:srgbClr val="FF0000"/>
                </a:solidFill>
              </a:rPr>
              <a:t>Truck starts computing new planned trajectory with planned speed reduction</a:t>
            </a:r>
            <a:endParaRPr lang="sv-SE" sz="1323" dirty="0">
              <a:solidFill>
                <a:srgbClr val="FF0000"/>
              </a:solidFill>
            </a:endParaRPr>
          </a:p>
        </p:txBody>
      </p:sp>
      <p:pic>
        <p:nvPicPr>
          <p:cNvPr id="23" name="Graphic 22" descr="Truck with solid fill">
            <a:extLst>
              <a:ext uri="{FF2B5EF4-FFF2-40B4-BE49-F238E27FC236}">
                <a16:creationId xmlns:a16="http://schemas.microsoft.com/office/drawing/2014/main" id="{5086110E-B6F5-8C80-E61F-73B6217345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71838" y="765052"/>
            <a:ext cx="510250" cy="510250"/>
          </a:xfrm>
          <a:prstGeom prst="rect">
            <a:avLst/>
          </a:prstGeom>
        </p:spPr>
      </p:pic>
      <p:pic>
        <p:nvPicPr>
          <p:cNvPr id="25" name="Graphic 24" descr="Car with solid fill">
            <a:extLst>
              <a:ext uri="{FF2B5EF4-FFF2-40B4-BE49-F238E27FC236}">
                <a16:creationId xmlns:a16="http://schemas.microsoft.com/office/drawing/2014/main" id="{670FB048-8C01-A4C0-FB8A-DB5841C4A07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71838" y="1802883"/>
            <a:ext cx="510250" cy="51025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25993AB7-6C72-F067-B5FE-22E3403EFA04}"/>
              </a:ext>
            </a:extLst>
          </p:cNvPr>
          <p:cNvSpPr txBox="1"/>
          <p:nvPr/>
        </p:nvSpPr>
        <p:spPr>
          <a:xfrm>
            <a:off x="3333720" y="1632800"/>
            <a:ext cx="1317787" cy="29591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sz="1323" b="1" dirty="0"/>
              <a:t>Plan + Desire</a:t>
            </a:r>
            <a:endParaRPr lang="sv-SE" sz="1323" b="1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00C3283-9198-5374-121A-2FC32589E830}"/>
              </a:ext>
            </a:extLst>
          </p:cNvPr>
          <p:cNvSpPr txBox="1"/>
          <p:nvPr/>
        </p:nvSpPr>
        <p:spPr>
          <a:xfrm>
            <a:off x="3401755" y="582428"/>
            <a:ext cx="2551247" cy="29591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sz="1323" b="1" dirty="0"/>
              <a:t>Plan (future speed reduction)</a:t>
            </a:r>
            <a:endParaRPr lang="sv-SE" sz="1323" b="1" dirty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6DF70CA-0230-F581-748B-8C428B0F64A3}"/>
              </a:ext>
            </a:extLst>
          </p:cNvPr>
          <p:cNvCxnSpPr/>
          <p:nvPr/>
        </p:nvCxnSpPr>
        <p:spPr>
          <a:xfrm>
            <a:off x="3129622" y="340166"/>
            <a:ext cx="0" cy="2551250"/>
          </a:xfrm>
          <a:prstGeom prst="line">
            <a:avLst/>
          </a:prstGeom>
          <a:ln w="12700">
            <a:solidFill>
              <a:srgbClr val="FF0000"/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A1222D74-E2E1-9F0E-04CA-1DFCDAF438FF}"/>
              </a:ext>
            </a:extLst>
          </p:cNvPr>
          <p:cNvSpPr/>
          <p:nvPr/>
        </p:nvSpPr>
        <p:spPr>
          <a:xfrm>
            <a:off x="5953005" y="4013965"/>
            <a:ext cx="136067" cy="13606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1A56AB3B-2509-A7AD-631D-20744388BBE4}"/>
                  </a:ext>
                </a:extLst>
              </p:cNvPr>
              <p:cNvSpPr txBox="1"/>
              <p:nvPr/>
            </p:nvSpPr>
            <p:spPr>
              <a:xfrm>
                <a:off x="5884972" y="3707816"/>
                <a:ext cx="345222" cy="3250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sv-SE" sz="1512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1A56AB3B-2509-A7AD-631D-20744388BB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84972" y="3707816"/>
                <a:ext cx="345222" cy="325025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E6ECAB32-96C5-B560-09C8-8E2A93BEB4F1}"/>
              </a:ext>
            </a:extLst>
          </p:cNvPr>
          <p:cNvSpPr/>
          <p:nvPr/>
        </p:nvSpPr>
        <p:spPr>
          <a:xfrm rot="10800000">
            <a:off x="5953005" y="3571750"/>
            <a:ext cx="136067" cy="136066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C1A7E2-04D5-5705-44ED-E31F44B9AF24}"/>
              </a:ext>
            </a:extLst>
          </p:cNvPr>
          <p:cNvCxnSpPr/>
          <p:nvPr/>
        </p:nvCxnSpPr>
        <p:spPr>
          <a:xfrm>
            <a:off x="6021038" y="340166"/>
            <a:ext cx="0" cy="2347150"/>
          </a:xfrm>
          <a:prstGeom prst="line">
            <a:avLst/>
          </a:prstGeom>
          <a:ln w="12700">
            <a:solidFill>
              <a:srgbClr val="FF0000"/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779A565-D862-C234-9D20-FEB65BF5835E}"/>
              </a:ext>
            </a:extLst>
          </p:cNvPr>
          <p:cNvSpPr txBox="1"/>
          <p:nvPr/>
        </p:nvSpPr>
        <p:spPr>
          <a:xfrm>
            <a:off x="5442755" y="2653299"/>
            <a:ext cx="2381166" cy="906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23" dirty="0">
                <a:solidFill>
                  <a:srgbClr val="FF0000"/>
                </a:solidFill>
              </a:rPr>
              <a:t>Truck stops computing </a:t>
            </a:r>
            <a:r>
              <a:rPr lang="en-US" sz="1323">
                <a:solidFill>
                  <a:srgbClr val="FF0000"/>
                </a:solidFill>
              </a:rPr>
              <a:t>speed reduction</a:t>
            </a:r>
            <a:br>
              <a:rPr lang="en-US" sz="1323" dirty="0">
                <a:solidFill>
                  <a:srgbClr val="FF0000"/>
                </a:solidFill>
              </a:rPr>
            </a:br>
            <a:r>
              <a:rPr lang="en-US" sz="1323" dirty="0">
                <a:solidFill>
                  <a:srgbClr val="FF0000"/>
                </a:solidFill>
              </a:rPr>
              <a:t>Speed advice sent to driver</a:t>
            </a:r>
            <a:br>
              <a:rPr lang="en-US" sz="1323" dirty="0">
                <a:solidFill>
                  <a:srgbClr val="FF0000"/>
                </a:solidFill>
              </a:rPr>
            </a:br>
            <a:r>
              <a:rPr lang="en-US" sz="1323" dirty="0">
                <a:solidFill>
                  <a:srgbClr val="FF0000"/>
                </a:solidFill>
              </a:rPr>
              <a:t>Truck speed reduced</a:t>
            </a:r>
            <a:endParaRPr lang="sv-SE" sz="1323" dirty="0">
              <a:solidFill>
                <a:srgbClr val="FF0000"/>
              </a:solidFill>
            </a:endParaRP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2BCE74E8-8D69-7DCD-44E3-56AFCA0D1E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Hi-Drive Enabler: Trajectory Planner / 2023-05-12</a:t>
            </a:r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0DAACAE9-D20D-76D2-DE4D-588E69AEB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353B6-E861-49AF-B9E3-C3AC05F98B68}" type="slidenum">
              <a:rPr lang="sv-SE" smtClean="0"/>
              <a:t>2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57943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>
            <a:extLst>
              <a:ext uri="{FF2B5EF4-FFF2-40B4-BE49-F238E27FC236}">
                <a16:creationId xmlns:a16="http://schemas.microsoft.com/office/drawing/2014/main" id="{D75CAFB6-5D7D-4075-A749-BE3708CF86B0}"/>
              </a:ext>
            </a:extLst>
          </p:cNvPr>
          <p:cNvGrpSpPr/>
          <p:nvPr/>
        </p:nvGrpSpPr>
        <p:grpSpPr>
          <a:xfrm>
            <a:off x="3129622" y="170083"/>
            <a:ext cx="2902757" cy="6123000"/>
            <a:chOff x="3312000" y="180000"/>
            <a:chExt cx="3072001" cy="648000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C136878-6A9D-1509-968B-2D5B4FEC52C3}"/>
                </a:ext>
              </a:extLst>
            </p:cNvPr>
            <p:cNvSpPr/>
            <p:nvPr/>
          </p:nvSpPr>
          <p:spPr>
            <a:xfrm>
              <a:off x="3312000" y="180000"/>
              <a:ext cx="3060000" cy="6480000"/>
            </a:xfrm>
            <a:prstGeom prst="rect">
              <a:avLst/>
            </a:prstGeom>
            <a:solidFill>
              <a:srgbClr val="FF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607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15C7A9C-E1AC-C445-87E3-A36FE288D909}"/>
                </a:ext>
              </a:extLst>
            </p:cNvPr>
            <p:cNvSpPr txBox="1"/>
            <p:nvPr/>
          </p:nvSpPr>
          <p:spPr>
            <a:xfrm>
              <a:off x="3780000" y="6120000"/>
              <a:ext cx="2604001" cy="4055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90" b="1" dirty="0">
                  <a:solidFill>
                    <a:srgbClr val="FF0000"/>
                  </a:solidFill>
                </a:rPr>
                <a:t>Negotiation period</a:t>
              </a:r>
              <a:endParaRPr lang="sv-SE" sz="1890" b="1" dirty="0">
                <a:solidFill>
                  <a:srgbClr val="FF0000"/>
                </a:solidFill>
              </a:endParaRPr>
            </a:p>
          </p:txBody>
        </p:sp>
      </p:grp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4B5E725-00EF-80DA-9936-196ABF0A192B}"/>
              </a:ext>
            </a:extLst>
          </p:cNvPr>
          <p:cNvCxnSpPr/>
          <p:nvPr/>
        </p:nvCxnSpPr>
        <p:spPr>
          <a:xfrm>
            <a:off x="680422" y="850416"/>
            <a:ext cx="9864833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4DAA7B6-6916-9331-C6F6-B1F9D16744FA}"/>
              </a:ext>
            </a:extLst>
          </p:cNvPr>
          <p:cNvCxnSpPr/>
          <p:nvPr/>
        </p:nvCxnSpPr>
        <p:spPr>
          <a:xfrm>
            <a:off x="9864922" y="1190583"/>
            <a:ext cx="68033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E3B1C30-BD14-8B48-FE3B-1E9361F3EE57}"/>
              </a:ext>
            </a:extLst>
          </p:cNvPr>
          <p:cNvCxnSpPr/>
          <p:nvPr/>
        </p:nvCxnSpPr>
        <p:spPr>
          <a:xfrm>
            <a:off x="680422" y="1190583"/>
            <a:ext cx="71435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A556AAC-1041-B5D7-45A3-AFC687E702C6}"/>
              </a:ext>
            </a:extLst>
          </p:cNvPr>
          <p:cNvCxnSpPr>
            <a:cxnSpLocks/>
          </p:cNvCxnSpPr>
          <p:nvPr/>
        </p:nvCxnSpPr>
        <p:spPr>
          <a:xfrm flipV="1">
            <a:off x="5272672" y="1530750"/>
            <a:ext cx="2721333" cy="68033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EAD28BE-1CBC-C624-E914-5110EF7FE435}"/>
              </a:ext>
            </a:extLst>
          </p:cNvPr>
          <p:cNvCxnSpPr/>
          <p:nvPr/>
        </p:nvCxnSpPr>
        <p:spPr>
          <a:xfrm>
            <a:off x="7994005" y="1530750"/>
            <a:ext cx="13606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0075EF3-C65C-5DA6-C3A4-7158EF3BD02C}"/>
              </a:ext>
            </a:extLst>
          </p:cNvPr>
          <p:cNvCxnSpPr>
            <a:cxnSpLocks/>
          </p:cNvCxnSpPr>
          <p:nvPr/>
        </p:nvCxnSpPr>
        <p:spPr>
          <a:xfrm flipV="1">
            <a:off x="9354672" y="1190583"/>
            <a:ext cx="510250" cy="34016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6EE0DE7-33A9-FC0F-85D4-BF883B0D29D3}"/>
              </a:ext>
            </a:extLst>
          </p:cNvPr>
          <p:cNvCxnSpPr/>
          <p:nvPr/>
        </p:nvCxnSpPr>
        <p:spPr>
          <a:xfrm>
            <a:off x="7823922" y="1190583"/>
            <a:ext cx="2041000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CCB18B8-60FE-BCC3-79E5-D73EADCBDDAA}"/>
              </a:ext>
            </a:extLst>
          </p:cNvPr>
          <p:cNvCxnSpPr>
            <a:cxnSpLocks/>
          </p:cNvCxnSpPr>
          <p:nvPr/>
        </p:nvCxnSpPr>
        <p:spPr>
          <a:xfrm flipV="1">
            <a:off x="5102589" y="1190583"/>
            <a:ext cx="2721333" cy="68033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BA04385-761D-833B-C499-053F07A458E5}"/>
              </a:ext>
            </a:extLst>
          </p:cNvPr>
          <p:cNvCxnSpPr/>
          <p:nvPr/>
        </p:nvCxnSpPr>
        <p:spPr>
          <a:xfrm>
            <a:off x="680422" y="510250"/>
            <a:ext cx="986483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E03AF51-973E-1B56-B71E-11B5B361AEAD}"/>
              </a:ext>
            </a:extLst>
          </p:cNvPr>
          <p:cNvCxnSpPr/>
          <p:nvPr/>
        </p:nvCxnSpPr>
        <p:spPr>
          <a:xfrm>
            <a:off x="1871005" y="1870916"/>
            <a:ext cx="323158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C11F9C5F-7E84-D896-60BC-00BE44860BD1}"/>
              </a:ext>
            </a:extLst>
          </p:cNvPr>
          <p:cNvCxnSpPr/>
          <p:nvPr/>
        </p:nvCxnSpPr>
        <p:spPr>
          <a:xfrm>
            <a:off x="1871005" y="2211083"/>
            <a:ext cx="34016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B227EC6-7958-D5AD-01C3-02EBB7C995A4}"/>
              </a:ext>
            </a:extLst>
          </p:cNvPr>
          <p:cNvCxnSpPr/>
          <p:nvPr/>
        </p:nvCxnSpPr>
        <p:spPr>
          <a:xfrm>
            <a:off x="680421" y="4082000"/>
            <a:ext cx="10205000" cy="0"/>
          </a:xfrm>
          <a:prstGeom prst="line">
            <a:avLst/>
          </a:prstGeom>
          <a:ln w="2540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30C985DE-09FC-1BC6-A190-52539C553E96}"/>
              </a:ext>
            </a:extLst>
          </p:cNvPr>
          <p:cNvSpPr/>
          <p:nvPr/>
        </p:nvSpPr>
        <p:spPr>
          <a:xfrm>
            <a:off x="748455" y="4013966"/>
            <a:ext cx="136067" cy="13606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D41FE07-58D7-D952-29CA-F01172C39AEA}"/>
                  </a:ext>
                </a:extLst>
              </p:cNvPr>
              <p:cNvSpPr txBox="1"/>
              <p:nvPr/>
            </p:nvSpPr>
            <p:spPr>
              <a:xfrm>
                <a:off x="680422" y="3707816"/>
                <a:ext cx="345222" cy="3250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sv-SE" sz="1512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D41FE07-58D7-D952-29CA-F01172C39A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422" y="3707816"/>
                <a:ext cx="345222" cy="3250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Oval 14">
            <a:extLst>
              <a:ext uri="{FF2B5EF4-FFF2-40B4-BE49-F238E27FC236}">
                <a16:creationId xmlns:a16="http://schemas.microsoft.com/office/drawing/2014/main" id="{DE3D9F97-6754-F079-BCAA-5ADF9B4DD221}"/>
              </a:ext>
            </a:extLst>
          </p:cNvPr>
          <p:cNvSpPr/>
          <p:nvPr/>
        </p:nvSpPr>
        <p:spPr>
          <a:xfrm>
            <a:off x="3061588" y="4013965"/>
            <a:ext cx="136067" cy="13606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7A247C3-7204-F719-523F-08BE4240C2E4}"/>
              </a:ext>
            </a:extLst>
          </p:cNvPr>
          <p:cNvSpPr/>
          <p:nvPr/>
        </p:nvSpPr>
        <p:spPr>
          <a:xfrm>
            <a:off x="3061588" y="4150032"/>
            <a:ext cx="136067" cy="136066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0FE587-A764-5630-E9A1-4B7D235E5440}"/>
              </a:ext>
            </a:extLst>
          </p:cNvPr>
          <p:cNvSpPr txBox="1"/>
          <p:nvPr/>
        </p:nvSpPr>
        <p:spPr>
          <a:xfrm>
            <a:off x="2721422" y="4252083"/>
            <a:ext cx="1832964" cy="295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23" dirty="0">
                <a:solidFill>
                  <a:srgbClr val="FF0000"/>
                </a:solidFill>
              </a:rPr>
              <a:t>Conflict detected</a:t>
            </a:r>
            <a:endParaRPr lang="sv-SE" sz="1323" dirty="0">
              <a:solidFill>
                <a:srgbClr val="FF0000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7D85B9-314C-9EC8-D16D-AD340DEE10DD}"/>
              </a:ext>
            </a:extLst>
          </p:cNvPr>
          <p:cNvSpPr txBox="1"/>
          <p:nvPr/>
        </p:nvSpPr>
        <p:spPr>
          <a:xfrm>
            <a:off x="2721422" y="4592249"/>
            <a:ext cx="1832964" cy="906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23" dirty="0">
                <a:solidFill>
                  <a:srgbClr val="FF0000"/>
                </a:solidFill>
              </a:rPr>
              <a:t>Car switches to new (non-conflict) planned trajectory and sends desired trajectory</a:t>
            </a:r>
            <a:endParaRPr lang="sv-SE" sz="1323" dirty="0">
              <a:solidFill>
                <a:srgbClr val="FF0000"/>
              </a:solidFill>
            </a:endParaRP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1899AEC0-D5FA-E917-181C-9D52B6623AA9}"/>
              </a:ext>
            </a:extLst>
          </p:cNvPr>
          <p:cNvSpPr/>
          <p:nvPr/>
        </p:nvSpPr>
        <p:spPr>
          <a:xfrm rot="10800000">
            <a:off x="3061588" y="3571750"/>
            <a:ext cx="136067" cy="136066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4714109-7AEB-2D83-76F3-49766749C570}"/>
                  </a:ext>
                </a:extLst>
              </p:cNvPr>
              <p:cNvSpPr txBox="1"/>
              <p:nvPr/>
            </p:nvSpPr>
            <p:spPr>
              <a:xfrm>
                <a:off x="2993555" y="3707816"/>
                <a:ext cx="345222" cy="3250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sv-SE" sz="1512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4714109-7AEB-2D83-76F3-49766749C5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93555" y="3707816"/>
                <a:ext cx="345222" cy="32502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TextBox 20">
            <a:extLst>
              <a:ext uri="{FF2B5EF4-FFF2-40B4-BE49-F238E27FC236}">
                <a16:creationId xmlns:a16="http://schemas.microsoft.com/office/drawing/2014/main" id="{60CD415E-C0A3-591F-7C00-1B8CE93A49B4}"/>
              </a:ext>
            </a:extLst>
          </p:cNvPr>
          <p:cNvSpPr txBox="1"/>
          <p:nvPr/>
        </p:nvSpPr>
        <p:spPr>
          <a:xfrm>
            <a:off x="2721422" y="2891416"/>
            <a:ext cx="2551250" cy="703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23" dirty="0">
                <a:solidFill>
                  <a:srgbClr val="FF0000"/>
                </a:solidFill>
              </a:rPr>
              <a:t>Truck starts computing new planned trajectory with planned speed reduction</a:t>
            </a:r>
            <a:endParaRPr lang="sv-SE" sz="1323" dirty="0">
              <a:solidFill>
                <a:srgbClr val="FF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6DF70CA-0230-F581-748B-8C428B0F64A3}"/>
              </a:ext>
            </a:extLst>
          </p:cNvPr>
          <p:cNvCxnSpPr/>
          <p:nvPr/>
        </p:nvCxnSpPr>
        <p:spPr>
          <a:xfrm>
            <a:off x="3129622" y="340166"/>
            <a:ext cx="0" cy="2551250"/>
          </a:xfrm>
          <a:prstGeom prst="line">
            <a:avLst/>
          </a:prstGeom>
          <a:ln w="12700">
            <a:solidFill>
              <a:srgbClr val="FF0000"/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A1222D74-E2E1-9F0E-04CA-1DFCDAF438FF}"/>
              </a:ext>
            </a:extLst>
          </p:cNvPr>
          <p:cNvSpPr/>
          <p:nvPr/>
        </p:nvSpPr>
        <p:spPr>
          <a:xfrm>
            <a:off x="5953005" y="4013965"/>
            <a:ext cx="136067" cy="13606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1A56AB3B-2509-A7AD-631D-20744388BBE4}"/>
                  </a:ext>
                </a:extLst>
              </p:cNvPr>
              <p:cNvSpPr txBox="1"/>
              <p:nvPr/>
            </p:nvSpPr>
            <p:spPr>
              <a:xfrm>
                <a:off x="5884972" y="3707816"/>
                <a:ext cx="345222" cy="3250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sv-SE" sz="1512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1A56AB3B-2509-A7AD-631D-20744388BB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84972" y="3707816"/>
                <a:ext cx="345222" cy="32502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E6ECAB32-96C5-B560-09C8-8E2A93BEB4F1}"/>
              </a:ext>
            </a:extLst>
          </p:cNvPr>
          <p:cNvSpPr/>
          <p:nvPr/>
        </p:nvSpPr>
        <p:spPr>
          <a:xfrm rot="10800000">
            <a:off x="5953005" y="3571750"/>
            <a:ext cx="136067" cy="136066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C1A7E2-04D5-5705-44ED-E31F44B9AF24}"/>
              </a:ext>
            </a:extLst>
          </p:cNvPr>
          <p:cNvCxnSpPr/>
          <p:nvPr/>
        </p:nvCxnSpPr>
        <p:spPr>
          <a:xfrm>
            <a:off x="6021038" y="340166"/>
            <a:ext cx="0" cy="2347150"/>
          </a:xfrm>
          <a:prstGeom prst="line">
            <a:avLst/>
          </a:prstGeom>
          <a:ln w="12700">
            <a:solidFill>
              <a:srgbClr val="FF0000"/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10687A2C-01DA-6F05-2CED-559CACD76082}"/>
              </a:ext>
            </a:extLst>
          </p:cNvPr>
          <p:cNvGrpSpPr/>
          <p:nvPr/>
        </p:nvGrpSpPr>
        <p:grpSpPr>
          <a:xfrm>
            <a:off x="6293172" y="582691"/>
            <a:ext cx="1525695" cy="709942"/>
            <a:chOff x="6660000" y="616665"/>
            <a:chExt cx="1614650" cy="751335"/>
          </a:xfrm>
        </p:grpSpPr>
        <p:pic>
          <p:nvPicPr>
            <p:cNvPr id="33" name="Graphic 32" descr="Truck with solid fill">
              <a:extLst>
                <a:ext uri="{FF2B5EF4-FFF2-40B4-BE49-F238E27FC236}">
                  <a16:creationId xmlns:a16="http://schemas.microsoft.com/office/drawing/2014/main" id="{BA9129F0-946F-770F-7F70-FCCBB92B4B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732000" y="828000"/>
              <a:ext cx="540000" cy="540000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DBA0B86E-EFDC-E500-D84D-8C4D1BB68268}"/>
                </a:ext>
              </a:extLst>
            </p:cNvPr>
            <p:cNvSpPr txBox="1"/>
            <p:nvPr/>
          </p:nvSpPr>
          <p:spPr>
            <a:xfrm>
              <a:off x="6660000" y="616665"/>
              <a:ext cx="1614650" cy="313168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323" b="1" dirty="0"/>
                <a:t>Plan (prediction)</a:t>
              </a:r>
              <a:endParaRPr lang="sv-SE" sz="1323" b="1" dirty="0"/>
            </a:p>
          </p:txBody>
        </p:sp>
      </p:grpSp>
      <p:pic>
        <p:nvPicPr>
          <p:cNvPr id="37" name="Graphic 36" descr="Car with solid fill">
            <a:extLst>
              <a:ext uri="{FF2B5EF4-FFF2-40B4-BE49-F238E27FC236}">
                <a16:creationId xmlns:a16="http://schemas.microsoft.com/office/drawing/2014/main" id="{181F9522-6235-B24D-1480-661FB90A780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93172" y="1462716"/>
            <a:ext cx="510250" cy="51025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8EB6892D-F3DF-7FAC-2A1C-5576358CBBCD}"/>
              </a:ext>
            </a:extLst>
          </p:cNvPr>
          <p:cNvSpPr txBox="1"/>
          <p:nvPr/>
        </p:nvSpPr>
        <p:spPr>
          <a:xfrm>
            <a:off x="6055054" y="1326650"/>
            <a:ext cx="1326651" cy="29591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sz="1323" b="1" dirty="0"/>
              <a:t>Plan + Desire</a:t>
            </a:r>
            <a:endParaRPr lang="sv-SE" sz="1323" b="1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33B27E2-7ED8-B647-DF8C-6E58DD8F50AC}"/>
              </a:ext>
            </a:extLst>
          </p:cNvPr>
          <p:cNvSpPr txBox="1"/>
          <p:nvPr/>
        </p:nvSpPr>
        <p:spPr>
          <a:xfrm>
            <a:off x="5442755" y="2653299"/>
            <a:ext cx="2381166" cy="906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23" dirty="0">
                <a:solidFill>
                  <a:srgbClr val="FF0000"/>
                </a:solidFill>
              </a:rPr>
              <a:t>Truck stops computing new planned trajectory</a:t>
            </a:r>
            <a:br>
              <a:rPr lang="en-US" sz="1323" dirty="0">
                <a:solidFill>
                  <a:srgbClr val="FF0000"/>
                </a:solidFill>
              </a:rPr>
            </a:br>
            <a:r>
              <a:rPr lang="en-US" sz="1323" dirty="0">
                <a:solidFill>
                  <a:srgbClr val="FF0000"/>
                </a:solidFill>
              </a:rPr>
              <a:t>Speed advice sent to driver</a:t>
            </a:r>
            <a:br>
              <a:rPr lang="en-US" sz="1323" dirty="0">
                <a:solidFill>
                  <a:srgbClr val="FF0000"/>
                </a:solidFill>
              </a:rPr>
            </a:br>
            <a:r>
              <a:rPr lang="en-US" sz="1323" dirty="0">
                <a:solidFill>
                  <a:srgbClr val="FF0000"/>
                </a:solidFill>
              </a:rPr>
              <a:t>Truck speed reduced</a:t>
            </a:r>
            <a:endParaRPr lang="sv-SE" sz="1323" dirty="0">
              <a:solidFill>
                <a:srgbClr val="FF0000"/>
              </a:solidFill>
            </a:endParaRP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6EC02FB8-C056-7CC5-2B40-DA5B6225A6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Hi-Drive Enabler: Trajectory Planner / 2023-05-12</a:t>
            </a: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BA5944D-9C93-CD33-022E-ACA52039A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353B6-E861-49AF-B9E3-C3AC05F98B68}" type="slidenum">
              <a:rPr lang="sv-SE" smtClean="0"/>
              <a:t>2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215471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>
            <a:extLst>
              <a:ext uri="{FF2B5EF4-FFF2-40B4-BE49-F238E27FC236}">
                <a16:creationId xmlns:a16="http://schemas.microsoft.com/office/drawing/2014/main" id="{D75CAFB6-5D7D-4075-A749-BE3708CF86B0}"/>
              </a:ext>
            </a:extLst>
          </p:cNvPr>
          <p:cNvGrpSpPr/>
          <p:nvPr/>
        </p:nvGrpSpPr>
        <p:grpSpPr>
          <a:xfrm>
            <a:off x="3129622" y="170083"/>
            <a:ext cx="2902757" cy="6123000"/>
            <a:chOff x="3312000" y="180000"/>
            <a:chExt cx="3072001" cy="648000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C136878-6A9D-1509-968B-2D5B4FEC52C3}"/>
                </a:ext>
              </a:extLst>
            </p:cNvPr>
            <p:cNvSpPr/>
            <p:nvPr/>
          </p:nvSpPr>
          <p:spPr>
            <a:xfrm>
              <a:off x="3312000" y="180000"/>
              <a:ext cx="3060000" cy="6480000"/>
            </a:xfrm>
            <a:prstGeom prst="rect">
              <a:avLst/>
            </a:prstGeom>
            <a:solidFill>
              <a:srgbClr val="FF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607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15C7A9C-E1AC-C445-87E3-A36FE288D909}"/>
                </a:ext>
              </a:extLst>
            </p:cNvPr>
            <p:cNvSpPr txBox="1"/>
            <p:nvPr/>
          </p:nvSpPr>
          <p:spPr>
            <a:xfrm>
              <a:off x="3780000" y="6120000"/>
              <a:ext cx="2604001" cy="4055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90" b="1" dirty="0">
                  <a:solidFill>
                    <a:srgbClr val="FF0000"/>
                  </a:solidFill>
                </a:rPr>
                <a:t>Negotiation period</a:t>
              </a:r>
              <a:endParaRPr lang="sv-SE" sz="1890" b="1" dirty="0">
                <a:solidFill>
                  <a:srgbClr val="FF0000"/>
                </a:solidFill>
              </a:endParaRPr>
            </a:p>
          </p:txBody>
        </p:sp>
      </p:grp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4B5E725-00EF-80DA-9936-196ABF0A192B}"/>
              </a:ext>
            </a:extLst>
          </p:cNvPr>
          <p:cNvCxnSpPr/>
          <p:nvPr/>
        </p:nvCxnSpPr>
        <p:spPr>
          <a:xfrm>
            <a:off x="680422" y="850416"/>
            <a:ext cx="9864833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4DAA7B6-6916-9331-C6F6-B1F9D16744FA}"/>
              </a:ext>
            </a:extLst>
          </p:cNvPr>
          <p:cNvCxnSpPr/>
          <p:nvPr/>
        </p:nvCxnSpPr>
        <p:spPr>
          <a:xfrm>
            <a:off x="9864922" y="1190583"/>
            <a:ext cx="68033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E3B1C30-BD14-8B48-FE3B-1E9361F3EE57}"/>
              </a:ext>
            </a:extLst>
          </p:cNvPr>
          <p:cNvCxnSpPr/>
          <p:nvPr/>
        </p:nvCxnSpPr>
        <p:spPr>
          <a:xfrm>
            <a:off x="680422" y="1190583"/>
            <a:ext cx="71435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A556AAC-1041-B5D7-45A3-AFC687E702C6}"/>
              </a:ext>
            </a:extLst>
          </p:cNvPr>
          <p:cNvCxnSpPr>
            <a:cxnSpLocks/>
          </p:cNvCxnSpPr>
          <p:nvPr/>
        </p:nvCxnSpPr>
        <p:spPr>
          <a:xfrm flipV="1">
            <a:off x="5272672" y="1530750"/>
            <a:ext cx="2721333" cy="68033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EAD28BE-1CBC-C624-E914-5110EF7FE435}"/>
              </a:ext>
            </a:extLst>
          </p:cNvPr>
          <p:cNvCxnSpPr/>
          <p:nvPr/>
        </p:nvCxnSpPr>
        <p:spPr>
          <a:xfrm>
            <a:off x="7994005" y="1530750"/>
            <a:ext cx="13606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0075EF3-C65C-5DA6-C3A4-7158EF3BD02C}"/>
              </a:ext>
            </a:extLst>
          </p:cNvPr>
          <p:cNvCxnSpPr>
            <a:cxnSpLocks/>
          </p:cNvCxnSpPr>
          <p:nvPr/>
        </p:nvCxnSpPr>
        <p:spPr>
          <a:xfrm flipV="1">
            <a:off x="9354672" y="1190583"/>
            <a:ext cx="510250" cy="34016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6EE0DE7-33A9-FC0F-85D4-BF883B0D29D3}"/>
              </a:ext>
            </a:extLst>
          </p:cNvPr>
          <p:cNvCxnSpPr/>
          <p:nvPr/>
        </p:nvCxnSpPr>
        <p:spPr>
          <a:xfrm>
            <a:off x="7823922" y="1190583"/>
            <a:ext cx="2041000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CCB18B8-60FE-BCC3-79E5-D73EADCBDDAA}"/>
              </a:ext>
            </a:extLst>
          </p:cNvPr>
          <p:cNvCxnSpPr>
            <a:cxnSpLocks/>
          </p:cNvCxnSpPr>
          <p:nvPr/>
        </p:nvCxnSpPr>
        <p:spPr>
          <a:xfrm flipV="1">
            <a:off x="5102589" y="1190583"/>
            <a:ext cx="2721333" cy="68033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BA04385-761D-833B-C499-053F07A458E5}"/>
              </a:ext>
            </a:extLst>
          </p:cNvPr>
          <p:cNvCxnSpPr/>
          <p:nvPr/>
        </p:nvCxnSpPr>
        <p:spPr>
          <a:xfrm>
            <a:off x="680422" y="510250"/>
            <a:ext cx="986483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E03AF51-973E-1B56-B71E-11B5B361AEAD}"/>
              </a:ext>
            </a:extLst>
          </p:cNvPr>
          <p:cNvCxnSpPr/>
          <p:nvPr/>
        </p:nvCxnSpPr>
        <p:spPr>
          <a:xfrm>
            <a:off x="1871005" y="1870916"/>
            <a:ext cx="323158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C11F9C5F-7E84-D896-60BC-00BE44860BD1}"/>
              </a:ext>
            </a:extLst>
          </p:cNvPr>
          <p:cNvCxnSpPr/>
          <p:nvPr/>
        </p:nvCxnSpPr>
        <p:spPr>
          <a:xfrm>
            <a:off x="1871005" y="2211083"/>
            <a:ext cx="34016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B227EC6-7958-D5AD-01C3-02EBB7C995A4}"/>
              </a:ext>
            </a:extLst>
          </p:cNvPr>
          <p:cNvCxnSpPr/>
          <p:nvPr/>
        </p:nvCxnSpPr>
        <p:spPr>
          <a:xfrm>
            <a:off x="680421" y="4082000"/>
            <a:ext cx="10205000" cy="0"/>
          </a:xfrm>
          <a:prstGeom prst="line">
            <a:avLst/>
          </a:prstGeom>
          <a:ln w="2540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30C985DE-09FC-1BC6-A190-52539C553E96}"/>
              </a:ext>
            </a:extLst>
          </p:cNvPr>
          <p:cNvSpPr/>
          <p:nvPr/>
        </p:nvSpPr>
        <p:spPr>
          <a:xfrm>
            <a:off x="748455" y="4013966"/>
            <a:ext cx="136067" cy="13606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D41FE07-58D7-D952-29CA-F01172C39AEA}"/>
                  </a:ext>
                </a:extLst>
              </p:cNvPr>
              <p:cNvSpPr txBox="1"/>
              <p:nvPr/>
            </p:nvSpPr>
            <p:spPr>
              <a:xfrm>
                <a:off x="680422" y="3707816"/>
                <a:ext cx="345222" cy="3250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sv-SE" sz="1512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D41FE07-58D7-D952-29CA-F01172C39A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422" y="3707816"/>
                <a:ext cx="345222" cy="3250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Oval 14">
            <a:extLst>
              <a:ext uri="{FF2B5EF4-FFF2-40B4-BE49-F238E27FC236}">
                <a16:creationId xmlns:a16="http://schemas.microsoft.com/office/drawing/2014/main" id="{DE3D9F97-6754-F079-BCAA-5ADF9B4DD221}"/>
              </a:ext>
            </a:extLst>
          </p:cNvPr>
          <p:cNvSpPr/>
          <p:nvPr/>
        </p:nvSpPr>
        <p:spPr>
          <a:xfrm>
            <a:off x="3061588" y="4013965"/>
            <a:ext cx="136067" cy="13606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7A247C3-7204-F719-523F-08BE4240C2E4}"/>
              </a:ext>
            </a:extLst>
          </p:cNvPr>
          <p:cNvSpPr/>
          <p:nvPr/>
        </p:nvSpPr>
        <p:spPr>
          <a:xfrm>
            <a:off x="3061588" y="4184050"/>
            <a:ext cx="136067" cy="136066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0FE587-A764-5630-E9A1-4B7D235E5440}"/>
              </a:ext>
            </a:extLst>
          </p:cNvPr>
          <p:cNvSpPr txBox="1"/>
          <p:nvPr/>
        </p:nvSpPr>
        <p:spPr>
          <a:xfrm>
            <a:off x="2721422" y="4286100"/>
            <a:ext cx="1832964" cy="295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23" dirty="0">
                <a:solidFill>
                  <a:srgbClr val="FF0000"/>
                </a:solidFill>
              </a:rPr>
              <a:t>Conflict detected</a:t>
            </a:r>
            <a:endParaRPr lang="sv-SE" sz="1323" dirty="0">
              <a:solidFill>
                <a:srgbClr val="FF0000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7D85B9-314C-9EC8-D16D-AD340DEE10DD}"/>
              </a:ext>
            </a:extLst>
          </p:cNvPr>
          <p:cNvSpPr txBox="1"/>
          <p:nvPr/>
        </p:nvSpPr>
        <p:spPr>
          <a:xfrm>
            <a:off x="2721422" y="4592249"/>
            <a:ext cx="1832964" cy="906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23" dirty="0">
                <a:solidFill>
                  <a:srgbClr val="FF0000"/>
                </a:solidFill>
              </a:rPr>
              <a:t>Car switches to new (non-conflict) planned trajectory and sends desired trajectory</a:t>
            </a:r>
            <a:endParaRPr lang="sv-SE" sz="1323" dirty="0">
              <a:solidFill>
                <a:srgbClr val="FF0000"/>
              </a:solidFill>
            </a:endParaRP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1899AEC0-D5FA-E917-181C-9D52B6623AA9}"/>
              </a:ext>
            </a:extLst>
          </p:cNvPr>
          <p:cNvSpPr/>
          <p:nvPr/>
        </p:nvSpPr>
        <p:spPr>
          <a:xfrm rot="10800000">
            <a:off x="3061588" y="3571750"/>
            <a:ext cx="136067" cy="136066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4714109-7AEB-2D83-76F3-49766749C570}"/>
                  </a:ext>
                </a:extLst>
              </p:cNvPr>
              <p:cNvSpPr txBox="1"/>
              <p:nvPr/>
            </p:nvSpPr>
            <p:spPr>
              <a:xfrm>
                <a:off x="2993555" y="3707816"/>
                <a:ext cx="345222" cy="3250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sv-SE" sz="1512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4714109-7AEB-2D83-76F3-49766749C5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93555" y="3707816"/>
                <a:ext cx="345222" cy="32502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TextBox 20">
            <a:extLst>
              <a:ext uri="{FF2B5EF4-FFF2-40B4-BE49-F238E27FC236}">
                <a16:creationId xmlns:a16="http://schemas.microsoft.com/office/drawing/2014/main" id="{60CD415E-C0A3-591F-7C00-1B8CE93A49B4}"/>
              </a:ext>
            </a:extLst>
          </p:cNvPr>
          <p:cNvSpPr txBox="1"/>
          <p:nvPr/>
        </p:nvSpPr>
        <p:spPr>
          <a:xfrm>
            <a:off x="2721422" y="2891416"/>
            <a:ext cx="2551250" cy="703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23" dirty="0">
                <a:solidFill>
                  <a:srgbClr val="FF0000"/>
                </a:solidFill>
              </a:rPr>
              <a:t>Truck starts computing new planned trajectory with planned speed reduction</a:t>
            </a:r>
            <a:endParaRPr lang="sv-SE" sz="1323" dirty="0">
              <a:solidFill>
                <a:srgbClr val="FF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6DF70CA-0230-F581-748B-8C428B0F64A3}"/>
              </a:ext>
            </a:extLst>
          </p:cNvPr>
          <p:cNvCxnSpPr/>
          <p:nvPr/>
        </p:nvCxnSpPr>
        <p:spPr>
          <a:xfrm>
            <a:off x="3129622" y="340166"/>
            <a:ext cx="0" cy="2551250"/>
          </a:xfrm>
          <a:prstGeom prst="line">
            <a:avLst/>
          </a:prstGeom>
          <a:ln w="12700">
            <a:solidFill>
              <a:srgbClr val="FF0000"/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A1222D74-E2E1-9F0E-04CA-1DFCDAF438FF}"/>
              </a:ext>
            </a:extLst>
          </p:cNvPr>
          <p:cNvSpPr/>
          <p:nvPr/>
        </p:nvSpPr>
        <p:spPr>
          <a:xfrm>
            <a:off x="5953005" y="4013965"/>
            <a:ext cx="136067" cy="13606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1A56AB3B-2509-A7AD-631D-20744388BBE4}"/>
                  </a:ext>
                </a:extLst>
              </p:cNvPr>
              <p:cNvSpPr txBox="1"/>
              <p:nvPr/>
            </p:nvSpPr>
            <p:spPr>
              <a:xfrm>
                <a:off x="5884972" y="3707816"/>
                <a:ext cx="345222" cy="3250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sv-SE" sz="1512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1A56AB3B-2509-A7AD-631D-20744388BB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84972" y="3707816"/>
                <a:ext cx="345222" cy="32502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E6ECAB32-96C5-B560-09C8-8E2A93BEB4F1}"/>
              </a:ext>
            </a:extLst>
          </p:cNvPr>
          <p:cNvSpPr/>
          <p:nvPr/>
        </p:nvSpPr>
        <p:spPr>
          <a:xfrm rot="10800000">
            <a:off x="5953005" y="3571750"/>
            <a:ext cx="136067" cy="136066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D5A4D33-2ADE-2F79-9D90-C23F2DA12453}"/>
              </a:ext>
            </a:extLst>
          </p:cNvPr>
          <p:cNvSpPr txBox="1"/>
          <p:nvPr/>
        </p:nvSpPr>
        <p:spPr>
          <a:xfrm>
            <a:off x="5442755" y="2653299"/>
            <a:ext cx="2381166" cy="906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23" dirty="0">
                <a:solidFill>
                  <a:srgbClr val="FF0000"/>
                </a:solidFill>
              </a:rPr>
              <a:t>Truck stops computing new planned trajectory</a:t>
            </a:r>
            <a:br>
              <a:rPr lang="en-US" sz="1323" dirty="0">
                <a:solidFill>
                  <a:srgbClr val="FF0000"/>
                </a:solidFill>
              </a:rPr>
            </a:br>
            <a:r>
              <a:rPr lang="en-US" sz="1323" dirty="0">
                <a:solidFill>
                  <a:srgbClr val="FF0000"/>
                </a:solidFill>
              </a:rPr>
              <a:t>Speed advice sent to driver</a:t>
            </a:r>
            <a:br>
              <a:rPr lang="en-US" sz="1323" dirty="0">
                <a:solidFill>
                  <a:srgbClr val="FF0000"/>
                </a:solidFill>
              </a:rPr>
            </a:br>
            <a:r>
              <a:rPr lang="en-US" sz="1323" dirty="0">
                <a:solidFill>
                  <a:srgbClr val="FF0000"/>
                </a:solidFill>
              </a:rPr>
              <a:t>Truck speed reduced</a:t>
            </a:r>
            <a:endParaRPr lang="sv-SE" sz="1323" dirty="0">
              <a:solidFill>
                <a:srgbClr val="FF0000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C1A7E2-04D5-5705-44ED-E31F44B9AF24}"/>
              </a:ext>
            </a:extLst>
          </p:cNvPr>
          <p:cNvCxnSpPr/>
          <p:nvPr/>
        </p:nvCxnSpPr>
        <p:spPr>
          <a:xfrm>
            <a:off x="6021038" y="340166"/>
            <a:ext cx="0" cy="2347150"/>
          </a:xfrm>
          <a:prstGeom prst="line">
            <a:avLst/>
          </a:prstGeom>
          <a:ln w="12700">
            <a:solidFill>
              <a:srgbClr val="FF0000"/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id="{B1FEFF63-2E90-8458-93C3-E7704E160DCD}"/>
              </a:ext>
            </a:extLst>
          </p:cNvPr>
          <p:cNvSpPr/>
          <p:nvPr/>
        </p:nvSpPr>
        <p:spPr>
          <a:xfrm>
            <a:off x="7823922" y="4013965"/>
            <a:ext cx="136067" cy="13606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2940DE6C-E5AD-95B6-5F24-1784795E42FC}"/>
                  </a:ext>
                </a:extLst>
              </p:cNvPr>
              <p:cNvSpPr txBox="1"/>
              <p:nvPr/>
            </p:nvSpPr>
            <p:spPr>
              <a:xfrm>
                <a:off x="7721872" y="3707816"/>
                <a:ext cx="345222" cy="3250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1512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lang="sv-SE" sz="1512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2940DE6C-E5AD-95B6-5F24-1784795E42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21872" y="3707816"/>
                <a:ext cx="345222" cy="32502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TextBox 26">
            <a:extLst>
              <a:ext uri="{FF2B5EF4-FFF2-40B4-BE49-F238E27FC236}">
                <a16:creationId xmlns:a16="http://schemas.microsoft.com/office/drawing/2014/main" id="{8487D212-C6EA-15DF-30FB-6AA3DE5A8467}"/>
              </a:ext>
            </a:extLst>
          </p:cNvPr>
          <p:cNvSpPr txBox="1"/>
          <p:nvPr/>
        </p:nvSpPr>
        <p:spPr>
          <a:xfrm>
            <a:off x="7521708" y="4286100"/>
            <a:ext cx="1832964" cy="49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23" dirty="0">
                <a:solidFill>
                  <a:srgbClr val="FF0000"/>
                </a:solidFill>
              </a:rPr>
              <a:t>Car stops sending desired trajectory</a:t>
            </a:r>
            <a:endParaRPr lang="sv-SE" sz="1323" dirty="0">
              <a:solidFill>
                <a:srgbClr val="FF0000"/>
              </a:solidFill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E317EE3-4FDA-06C1-AA52-96C986E5596C}"/>
              </a:ext>
            </a:extLst>
          </p:cNvPr>
          <p:cNvCxnSpPr/>
          <p:nvPr/>
        </p:nvCxnSpPr>
        <p:spPr>
          <a:xfrm>
            <a:off x="7845362" y="340166"/>
            <a:ext cx="0" cy="3333633"/>
          </a:xfrm>
          <a:prstGeom prst="line">
            <a:avLst/>
          </a:prstGeom>
          <a:ln w="12700">
            <a:solidFill>
              <a:srgbClr val="FF0000"/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Isosceles Triangle 38">
            <a:extLst>
              <a:ext uri="{FF2B5EF4-FFF2-40B4-BE49-F238E27FC236}">
                <a16:creationId xmlns:a16="http://schemas.microsoft.com/office/drawing/2014/main" id="{42DAD867-5784-1FE0-A1A7-E0ED79A077D6}"/>
              </a:ext>
            </a:extLst>
          </p:cNvPr>
          <p:cNvSpPr/>
          <p:nvPr/>
        </p:nvSpPr>
        <p:spPr>
          <a:xfrm>
            <a:off x="7823922" y="4184050"/>
            <a:ext cx="136067" cy="136066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/>
          </a:p>
        </p:txBody>
      </p:sp>
      <p:pic>
        <p:nvPicPr>
          <p:cNvPr id="40" name="Graphic 39" descr="Car with solid fill">
            <a:extLst>
              <a:ext uri="{FF2B5EF4-FFF2-40B4-BE49-F238E27FC236}">
                <a16:creationId xmlns:a16="http://schemas.microsoft.com/office/drawing/2014/main" id="{BD3A8F98-C2B2-5F3F-79E2-6288FEBC3BC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64088" y="1078107"/>
            <a:ext cx="510250" cy="569226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F3926925-7209-F8EC-3F64-A7A0CFF851D9}"/>
              </a:ext>
            </a:extLst>
          </p:cNvPr>
          <p:cNvSpPr txBox="1"/>
          <p:nvPr/>
        </p:nvSpPr>
        <p:spPr>
          <a:xfrm>
            <a:off x="8164087" y="952467"/>
            <a:ext cx="748357" cy="29591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sz="1323" b="1" dirty="0"/>
              <a:t>Plan</a:t>
            </a:r>
            <a:endParaRPr lang="sv-SE" sz="1323" b="1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817789E1-B2DA-771B-A4E8-02FEDD87FF49}"/>
              </a:ext>
            </a:extLst>
          </p:cNvPr>
          <p:cNvGrpSpPr/>
          <p:nvPr/>
        </p:nvGrpSpPr>
        <p:grpSpPr>
          <a:xfrm>
            <a:off x="7143588" y="582691"/>
            <a:ext cx="1525695" cy="709942"/>
            <a:chOff x="6660000" y="616665"/>
            <a:chExt cx="1614650" cy="751335"/>
          </a:xfrm>
        </p:grpSpPr>
        <p:pic>
          <p:nvPicPr>
            <p:cNvPr id="43" name="Graphic 42" descr="Truck with solid fill">
              <a:extLst>
                <a:ext uri="{FF2B5EF4-FFF2-40B4-BE49-F238E27FC236}">
                  <a16:creationId xmlns:a16="http://schemas.microsoft.com/office/drawing/2014/main" id="{AC377FC8-20EE-C876-39CE-8082B7FA2B2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732000" y="828000"/>
              <a:ext cx="540000" cy="540000"/>
            </a:xfrm>
            <a:prstGeom prst="rect">
              <a:avLst/>
            </a:prstGeom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2CF7B0A-ED0D-E06B-9563-8017DB536C5A}"/>
                </a:ext>
              </a:extLst>
            </p:cNvPr>
            <p:cNvSpPr txBox="1"/>
            <p:nvPr/>
          </p:nvSpPr>
          <p:spPr>
            <a:xfrm>
              <a:off x="6660000" y="616665"/>
              <a:ext cx="1614650" cy="313168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323" b="1" dirty="0"/>
                <a:t>Plan (prediction)</a:t>
              </a:r>
              <a:endParaRPr lang="sv-SE" sz="1323" b="1" dirty="0"/>
            </a:p>
          </p:txBody>
        </p:sp>
      </p:grpSp>
      <p:sp>
        <p:nvSpPr>
          <p:cNvPr id="23" name="Footer Placeholder 22">
            <a:extLst>
              <a:ext uri="{FF2B5EF4-FFF2-40B4-BE49-F238E27FC236}">
                <a16:creationId xmlns:a16="http://schemas.microsoft.com/office/drawing/2014/main" id="{5FC9D917-C973-FA09-B663-690782F7BC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Hi-Drive Enabler: Trajectory Planner / 2023-05-12</a:t>
            </a:r>
          </a:p>
        </p:txBody>
      </p:sp>
      <p:sp>
        <p:nvSpPr>
          <p:cNvPr id="33" name="Slide Number Placeholder 32">
            <a:extLst>
              <a:ext uri="{FF2B5EF4-FFF2-40B4-BE49-F238E27FC236}">
                <a16:creationId xmlns:a16="http://schemas.microsoft.com/office/drawing/2014/main" id="{07204D31-0432-A840-DC91-1E311EF4C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353B6-E861-49AF-B9E3-C3AC05F98B68}" type="slidenum">
              <a:rPr lang="sv-SE" smtClean="0"/>
              <a:t>2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229478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ED42F15-12F6-556F-F0D6-DDE8EDE170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2825" y="3408976"/>
            <a:ext cx="4796974" cy="24944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3B68CB9-6FE8-961D-052A-E68CF8996D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E" dirty="0"/>
              <a:t>Driver Mode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A130CC-C3F2-CEB3-4C41-7A75FAA11F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440000"/>
            <a:ext cx="6951335" cy="3888000"/>
          </a:xfrm>
        </p:spPr>
        <p:txBody>
          <a:bodyPr>
            <a:normAutofit/>
          </a:bodyPr>
          <a:lstStyle/>
          <a:p>
            <a:r>
              <a:rPr lang="en-S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lligent Driver Model (IDM)</a:t>
            </a:r>
          </a:p>
          <a:p>
            <a:endParaRPr lang="en-SE" sz="1800" dirty="0"/>
          </a:p>
          <a:p>
            <a:endParaRPr lang="en-SE" sz="1800" dirty="0"/>
          </a:p>
          <a:p>
            <a:endParaRPr lang="en-SE" sz="1800" dirty="0"/>
          </a:p>
          <a:p>
            <a:endParaRPr lang="en-SE" sz="1800" dirty="0"/>
          </a:p>
          <a:p>
            <a:endParaRPr lang="en-SE" sz="1800" dirty="0"/>
          </a:p>
          <a:p>
            <a:r>
              <a:rPr lang="en-S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roved Intelligent Driver Model (IIDM)</a:t>
            </a:r>
            <a:endParaRPr lang="en-SE" sz="18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86D95A-51EF-81D9-60D8-6D547F619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5DD548-B775-9A10-D61D-D7931597E0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24</a:t>
            </a:fld>
            <a:endParaRPr lang="en-US"/>
          </a:p>
        </p:txBody>
      </p:sp>
      <p:pic>
        <p:nvPicPr>
          <p:cNvPr id="6" name="Picture 5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D3C3CB3F-40BF-B246-25CD-51EFB29831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7411" y="574099"/>
            <a:ext cx="3441700" cy="5181600"/>
          </a:xfrm>
          <a:prstGeom prst="rect">
            <a:avLst/>
          </a:prstGeom>
        </p:spPr>
      </p:pic>
      <p:pic>
        <p:nvPicPr>
          <p:cNvPr id="8" name="Picture 7" descr="A picture containing table&#10;&#10;Description automatically generated">
            <a:extLst>
              <a:ext uri="{FF2B5EF4-FFF2-40B4-BE49-F238E27FC236}">
                <a16:creationId xmlns:a16="http://schemas.microsoft.com/office/drawing/2014/main" id="{B75A68E5-1820-3D53-1BB8-CD87901354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1828" y="1758461"/>
            <a:ext cx="5050645" cy="961301"/>
          </a:xfrm>
          <a:prstGeom prst="rect">
            <a:avLst/>
          </a:prstGeom>
        </p:spPr>
      </p:pic>
      <p:pic>
        <p:nvPicPr>
          <p:cNvPr id="9" name="Picture 8" descr="A picture containing logo&#10;&#10;Description automatically generated">
            <a:extLst>
              <a:ext uri="{FF2B5EF4-FFF2-40B4-BE49-F238E27FC236}">
                <a16:creationId xmlns:a16="http://schemas.microsoft.com/office/drawing/2014/main" id="{3EE4BEBC-F16D-C041-8630-7A32A70A26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751" y="2610367"/>
            <a:ext cx="5136151" cy="798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6372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C965F-7E60-1204-576F-984E0CF989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E" dirty="0"/>
              <a:t>Simulation Enviro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C6FDA8-529F-DCE4-219F-93A918AA68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5247" y="1375562"/>
            <a:ext cx="4256261" cy="3888000"/>
          </a:xfrm>
        </p:spPr>
        <p:txBody>
          <a:bodyPr>
            <a:normAutofit fontScale="85000" lnSpcReduction="20000"/>
          </a:bodyPr>
          <a:lstStyle/>
          <a:p>
            <a:r>
              <a:rPr lang="en-US" b="1" dirty="0"/>
              <a:t>CAV – car (blue)</a:t>
            </a:r>
          </a:p>
          <a:p>
            <a:r>
              <a:rPr lang="en-US" dirty="0"/>
              <a:t>Cooperative but not helping vehicle driving a constant speed</a:t>
            </a:r>
            <a:endParaRPr lang="en-US" b="1" dirty="0"/>
          </a:p>
          <a:p>
            <a:r>
              <a:rPr lang="en-US" b="1" dirty="0"/>
              <a:t>CAV – car (green and orange)</a:t>
            </a:r>
          </a:p>
          <a:p>
            <a:r>
              <a:rPr lang="en-US" dirty="0"/>
              <a:t>Trajectory planning via solving an optimization problem (</a:t>
            </a:r>
            <a:r>
              <a:rPr lang="en-US" dirty="0" err="1"/>
              <a:t>CasADi</a:t>
            </a:r>
            <a:r>
              <a:rPr lang="en-US" dirty="0"/>
              <a:t> and IPOPT) for a particle model</a:t>
            </a:r>
          </a:p>
          <a:p>
            <a:r>
              <a:rPr lang="en-US" dirty="0"/>
              <a:t>Objective function for reduced actuation (longitudinal land lateral acceleration), avoid collisions</a:t>
            </a:r>
          </a:p>
          <a:p>
            <a:r>
              <a:rPr lang="en-US" dirty="0"/>
              <a:t>LQR to follow the trajectory</a:t>
            </a:r>
          </a:p>
          <a:p>
            <a:r>
              <a:rPr lang="en-US" b="1" dirty="0"/>
              <a:t>CV – truck (blue and orange)</a:t>
            </a:r>
          </a:p>
          <a:p>
            <a:r>
              <a:rPr lang="en-US" dirty="0"/>
              <a:t>Trajectory prediction via IIDM, conflict resolution by testing different velocity reductions</a:t>
            </a:r>
          </a:p>
          <a:p>
            <a:r>
              <a:rPr lang="en-US" dirty="0"/>
              <a:t>Objective is to reduce the variation of longitudinal acceleration and avoid conflicts</a:t>
            </a:r>
          </a:p>
          <a:p>
            <a:endParaRPr lang="en-US" dirty="0"/>
          </a:p>
          <a:p>
            <a:r>
              <a:rPr lang="en-US" b="1" dirty="0"/>
              <a:t>Code reuse</a:t>
            </a:r>
            <a:r>
              <a:rPr lang="en-US" dirty="0"/>
              <a:t>: implementation for CV is possible to separate from the environment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B4B0F5-2927-D9CF-C9E7-6BF63D56A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45B22A-BACC-03B5-0ECA-06DEFAC163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25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63CED4-416E-5CA2-19F1-A71A02BDA1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3635" y="858439"/>
            <a:ext cx="5679043" cy="212964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5CFF177-BD90-E001-7A8E-97C71473C8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3635" y="3319562"/>
            <a:ext cx="5679044" cy="2129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1612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44BE76-4975-8EFC-B3F2-574573B4D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effectLst/>
              </a:rPr>
              <a:t>Maneuverer Coordination Message (MCM)</a:t>
            </a:r>
            <a:endParaRPr lang="en-S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0A9EE5-B371-CEC9-7523-39DF42992C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440000"/>
            <a:ext cx="4408591" cy="3888000"/>
          </a:xfrm>
        </p:spPr>
        <p:txBody>
          <a:bodyPr/>
          <a:lstStyle/>
          <a:p>
            <a:r>
              <a:rPr lang="en-SE" b="1" dirty="0"/>
              <a:t>Adapted message format from TransAID </a:t>
            </a:r>
            <a:r>
              <a:rPr lang="en-SE" dirty="0"/>
              <a:t>(</a:t>
            </a:r>
            <a:r>
              <a:rPr lang="en-GB" dirty="0"/>
              <a:t>Transition Areas for Infrastructure-Assisted Driving): MCM ASN.1 specification</a:t>
            </a:r>
          </a:p>
          <a:p>
            <a:r>
              <a:rPr lang="en-GB" dirty="0"/>
              <a:t>Abstract Syntax Notation One (ASN.1) is a standard interface description language for defining data structures that can be serialized and deserialized in a cross-platform way</a:t>
            </a:r>
          </a:p>
          <a:p>
            <a:r>
              <a:rPr lang="en-GB" b="1" dirty="0"/>
              <a:t>With a reference to ETSI TS 103 561 V0.0.2 (2022-09): </a:t>
            </a:r>
            <a:r>
              <a:rPr lang="en-GB" dirty="0"/>
              <a:t>Intelligent Transport Systems (ITS); Vehicular Communications; Basic Set of Applications; Manoeuvres’ Coordination Service; Release 2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SE" dirty="0"/>
          </a:p>
          <a:p>
            <a:endParaRPr lang="en-S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1C0786-138A-DA18-2B8F-156FF6B40C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53314F-7E33-2FE1-2B90-D6890EDB9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26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AD65CA-827A-7509-9231-2FC0AB7163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8874" y="1751132"/>
            <a:ext cx="5707304" cy="12761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A3AB65E-434B-75C3-6E08-885FC323DC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8874" y="3452875"/>
            <a:ext cx="5870097" cy="1632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6749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5F224-BE41-3253-FF01-48D0D01356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E" dirty="0"/>
              <a:t>Example Image of a Highway Merging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A54FA2-8A98-5B60-60A9-9C32932FDC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4DAF57-47BB-81CD-4FBC-9F5A67010F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27</a:t>
            </a:fld>
            <a:endParaRPr lang="en-US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840EFD25-454E-7D52-651D-DC9B55B8F9E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698133" y="861173"/>
            <a:ext cx="2749538" cy="491677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D763206-751F-8522-0869-B89696F860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544" y="853314"/>
            <a:ext cx="2747469" cy="492463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DFF1754-0179-8813-6095-31BB841AF10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985" b="5505"/>
          <a:stretch/>
        </p:blipFill>
        <p:spPr>
          <a:xfrm>
            <a:off x="2878936" y="853314"/>
            <a:ext cx="3009417" cy="492463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4438C8D-A14E-0CD7-0FB2-6A1D6944EF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16276" y="853314"/>
            <a:ext cx="2753934" cy="4924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636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ABEAC-12F3-7DFC-8B07-07930E1827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E" dirty="0"/>
              <a:t>Coordinate Transformatio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C4E906-1671-FEAC-3A97-9B10BB4018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67F6A1-D375-253F-99B1-05B2FCC60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28</a:t>
            </a:fld>
            <a:endParaRPr lang="en-US"/>
          </a:p>
        </p:txBody>
      </p:sp>
      <p:pic>
        <p:nvPicPr>
          <p:cNvPr id="21" name="Picture 20" descr="A map of a race track&#10;&#10;Description automatically generated with low confidence">
            <a:extLst>
              <a:ext uri="{FF2B5EF4-FFF2-40B4-BE49-F238E27FC236}">
                <a16:creationId xmlns:a16="http://schemas.microsoft.com/office/drawing/2014/main" id="{4CE5CD01-48A7-635D-0895-E3EAFA91CD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6826" y="1042389"/>
            <a:ext cx="3800192" cy="458487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36972029-1F5B-954D-7EB4-24F476CEF5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3844" y="2131568"/>
            <a:ext cx="6335966" cy="2375988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3BD7B97-72BC-7AE3-AEC5-EE0C1EBD6E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SE" dirty="0"/>
          </a:p>
        </p:txBody>
      </p:sp>
    </p:spTree>
    <p:extLst>
      <p:ext uri="{BB962C8B-B14F-4D97-AF65-F5344CB8AC3E}">
        <p14:creationId xmlns:p14="http://schemas.microsoft.com/office/powerpoint/2010/main" val="413552710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5DB8AF3-6AC5-5437-0C94-A71964D817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024E2C-7F18-5F78-FC33-7041623C83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296323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Gruppieren 91"/>
          <p:cNvGrpSpPr/>
          <p:nvPr/>
        </p:nvGrpSpPr>
        <p:grpSpPr>
          <a:xfrm>
            <a:off x="6859118" y="2073581"/>
            <a:ext cx="2483624" cy="1352889"/>
            <a:chOff x="5444207" y="1887341"/>
            <a:chExt cx="1971323" cy="1073827"/>
          </a:xfrm>
        </p:grpSpPr>
        <p:cxnSp>
          <p:nvCxnSpPr>
            <p:cNvPr id="48" name="Gerader Verbinder 47"/>
            <p:cNvCxnSpPr/>
            <p:nvPr/>
          </p:nvCxnSpPr>
          <p:spPr>
            <a:xfrm flipV="1">
              <a:off x="5444207" y="2024839"/>
              <a:ext cx="1839076" cy="936329"/>
            </a:xfrm>
            <a:prstGeom prst="line">
              <a:avLst/>
            </a:prstGeom>
            <a:ln w="57150" cap="rnd"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9" name="Gruppieren 68"/>
            <p:cNvGrpSpPr/>
            <p:nvPr/>
          </p:nvGrpSpPr>
          <p:grpSpPr>
            <a:xfrm>
              <a:off x="7141210" y="1887341"/>
              <a:ext cx="274320" cy="274320"/>
              <a:chOff x="2786380" y="3561079"/>
              <a:chExt cx="274320" cy="274320"/>
            </a:xfrm>
          </p:grpSpPr>
          <p:sp>
            <p:nvSpPr>
              <p:cNvPr id="70" name="Ellipse 69"/>
              <p:cNvSpPr/>
              <p:nvPr/>
            </p:nvSpPr>
            <p:spPr>
              <a:xfrm>
                <a:off x="2786380" y="3561079"/>
                <a:ext cx="274320" cy="27432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143"/>
              </a:p>
            </p:txBody>
          </p:sp>
          <p:sp>
            <p:nvSpPr>
              <p:cNvPr id="71" name="Ellipse 70"/>
              <p:cNvSpPr/>
              <p:nvPr/>
            </p:nvSpPr>
            <p:spPr>
              <a:xfrm>
                <a:off x="2835835" y="3610534"/>
                <a:ext cx="175410" cy="17541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143"/>
              </a:p>
            </p:txBody>
          </p:sp>
        </p:grpSp>
      </p:grp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3</a:t>
            </a:fld>
            <a:endParaRPr lang="en-US"/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18AC4BAA-D075-B21C-F245-11E88CEDEDC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70" t="5820" r="1788" b="14345"/>
          <a:stretch/>
        </p:blipFill>
        <p:spPr>
          <a:xfrm>
            <a:off x="1187138" y="3668925"/>
            <a:ext cx="1674245" cy="1004545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CF231DCA-16A9-5A88-1068-EC208083CD3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51" t="954" r="5430" b="8252"/>
          <a:stretch/>
        </p:blipFill>
        <p:spPr>
          <a:xfrm>
            <a:off x="3051251" y="3118037"/>
            <a:ext cx="2227014" cy="80853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5103" y="1476776"/>
            <a:ext cx="2182047" cy="462594"/>
          </a:xfrm>
          <a:prstGeom prst="rect">
            <a:avLst/>
          </a:prstGeom>
        </p:spPr>
      </p:pic>
      <p:grpSp>
        <p:nvGrpSpPr>
          <p:cNvPr id="91" name="Gruppieren 90"/>
          <p:cNvGrpSpPr/>
          <p:nvPr/>
        </p:nvGrpSpPr>
        <p:grpSpPr>
          <a:xfrm>
            <a:off x="4544061" y="3268234"/>
            <a:ext cx="2472034" cy="1053373"/>
            <a:chOff x="3606681" y="2835572"/>
            <a:chExt cx="1962124" cy="836092"/>
          </a:xfrm>
        </p:grpSpPr>
        <p:cxnSp>
          <p:nvCxnSpPr>
            <p:cNvPr id="47" name="Gerader Verbinder 46"/>
            <p:cNvCxnSpPr>
              <a:stCxn id="36" idx="6"/>
              <a:endCxn id="39" idx="7"/>
            </p:cNvCxnSpPr>
            <p:nvPr/>
          </p:nvCxnSpPr>
          <p:spPr>
            <a:xfrm flipV="1">
              <a:off x="3606681" y="2961168"/>
              <a:ext cx="1837526" cy="710496"/>
            </a:xfrm>
            <a:prstGeom prst="line">
              <a:avLst/>
            </a:prstGeom>
            <a:ln w="57150" cap="rnd"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6" name="Gruppieren 65"/>
            <p:cNvGrpSpPr/>
            <p:nvPr/>
          </p:nvGrpSpPr>
          <p:grpSpPr>
            <a:xfrm>
              <a:off x="5294485" y="2835572"/>
              <a:ext cx="274320" cy="274320"/>
              <a:chOff x="2786380" y="3561079"/>
              <a:chExt cx="274320" cy="274320"/>
            </a:xfrm>
          </p:grpSpPr>
          <p:sp>
            <p:nvSpPr>
              <p:cNvPr id="67" name="Ellipse 66"/>
              <p:cNvSpPr/>
              <p:nvPr/>
            </p:nvSpPr>
            <p:spPr>
              <a:xfrm>
                <a:off x="2786380" y="3561079"/>
                <a:ext cx="274320" cy="27432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143"/>
              </a:p>
            </p:txBody>
          </p:sp>
          <p:sp>
            <p:nvSpPr>
              <p:cNvPr id="68" name="Ellipse 67"/>
              <p:cNvSpPr/>
              <p:nvPr/>
            </p:nvSpPr>
            <p:spPr>
              <a:xfrm>
                <a:off x="2835835" y="3610534"/>
                <a:ext cx="175410" cy="17541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143"/>
              </a:p>
            </p:txBody>
          </p:sp>
        </p:grpSp>
      </p:grpSp>
      <p:grpSp>
        <p:nvGrpSpPr>
          <p:cNvPr id="87" name="Gruppieren 86"/>
          <p:cNvGrpSpPr/>
          <p:nvPr/>
        </p:nvGrpSpPr>
        <p:grpSpPr>
          <a:xfrm>
            <a:off x="535891" y="1118382"/>
            <a:ext cx="402546" cy="4211934"/>
            <a:chOff x="425280" y="1129173"/>
            <a:chExt cx="319512" cy="3343132"/>
          </a:xfrm>
        </p:grpSpPr>
        <p:cxnSp>
          <p:nvCxnSpPr>
            <p:cNvPr id="8" name="Gerade Verbindung mit Pfeil 7"/>
            <p:cNvCxnSpPr/>
            <p:nvPr/>
          </p:nvCxnSpPr>
          <p:spPr>
            <a:xfrm flipV="1">
              <a:off x="599123" y="1129173"/>
              <a:ext cx="0" cy="3343132"/>
            </a:xfrm>
            <a:prstGeom prst="straightConnector1">
              <a:avLst/>
            </a:prstGeom>
            <a:ln w="50800" cap="flat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Rechteck 71"/>
            <p:cNvSpPr/>
            <p:nvPr/>
          </p:nvSpPr>
          <p:spPr>
            <a:xfrm>
              <a:off x="521225" y="1520968"/>
              <a:ext cx="177784" cy="12409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43"/>
            </a:p>
          </p:txBody>
        </p:sp>
        <p:sp>
          <p:nvSpPr>
            <p:cNvPr id="28" name="Textfeld 27"/>
            <p:cNvSpPr txBox="1"/>
            <p:nvPr/>
          </p:nvSpPr>
          <p:spPr>
            <a:xfrm rot="16200000">
              <a:off x="-71317" y="1937070"/>
              <a:ext cx="1312706" cy="3195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16" b="1" dirty="0" err="1">
                  <a:solidFill>
                    <a:schemeClr val="accent6"/>
                  </a:solidFill>
                </a:rPr>
                <a:t>Complexity</a:t>
              </a:r>
              <a:endParaRPr lang="en-GB" sz="2016" b="1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88" name="Gruppieren 87"/>
          <p:cNvGrpSpPr/>
          <p:nvPr/>
        </p:nvGrpSpPr>
        <p:grpSpPr>
          <a:xfrm>
            <a:off x="726109" y="5079880"/>
            <a:ext cx="9932268" cy="402546"/>
            <a:chOff x="576263" y="4273522"/>
            <a:chExt cx="7883525" cy="319512"/>
          </a:xfrm>
        </p:grpSpPr>
        <p:cxnSp>
          <p:nvCxnSpPr>
            <p:cNvPr id="6" name="Gerade Verbindung mit Pfeil 5"/>
            <p:cNvCxnSpPr/>
            <p:nvPr/>
          </p:nvCxnSpPr>
          <p:spPr>
            <a:xfrm>
              <a:off x="576263" y="4449445"/>
              <a:ext cx="7883525" cy="0"/>
            </a:xfrm>
            <a:prstGeom prst="straightConnector1">
              <a:avLst/>
            </a:prstGeom>
            <a:ln w="5080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chteck 72"/>
            <p:cNvSpPr/>
            <p:nvPr/>
          </p:nvSpPr>
          <p:spPr>
            <a:xfrm>
              <a:off x="7438051" y="4339201"/>
              <a:ext cx="623909" cy="2099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43"/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7407571" y="4273522"/>
              <a:ext cx="708543" cy="3195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16" b="1" dirty="0">
                  <a:solidFill>
                    <a:schemeClr val="accent6"/>
                  </a:solidFill>
                </a:rPr>
                <a:t>Time</a:t>
              </a:r>
              <a:endParaRPr lang="en-GB" sz="2016" b="1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90" name="Gruppieren 89"/>
          <p:cNvGrpSpPr/>
          <p:nvPr/>
        </p:nvGrpSpPr>
        <p:grpSpPr>
          <a:xfrm>
            <a:off x="1975648" y="4158403"/>
            <a:ext cx="2640321" cy="831414"/>
            <a:chOff x="1568058" y="3542124"/>
            <a:chExt cx="2095698" cy="659917"/>
          </a:xfrm>
        </p:grpSpPr>
        <p:cxnSp>
          <p:nvCxnSpPr>
            <p:cNvPr id="45" name="Gerader Verbinder 44"/>
            <p:cNvCxnSpPr>
              <a:stCxn id="30" idx="2"/>
              <a:endCxn id="36" idx="6"/>
            </p:cNvCxnSpPr>
            <p:nvPr/>
          </p:nvCxnSpPr>
          <p:spPr>
            <a:xfrm flipV="1">
              <a:off x="1568058" y="3671664"/>
              <a:ext cx="2038623" cy="530377"/>
            </a:xfrm>
            <a:prstGeom prst="line">
              <a:avLst/>
            </a:prstGeom>
            <a:ln w="57150" cap="rnd"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4" name="Gruppieren 73"/>
            <p:cNvGrpSpPr/>
            <p:nvPr/>
          </p:nvGrpSpPr>
          <p:grpSpPr>
            <a:xfrm>
              <a:off x="3389436" y="3542124"/>
              <a:ext cx="274320" cy="274320"/>
              <a:chOff x="2786380" y="3561079"/>
              <a:chExt cx="274320" cy="274320"/>
            </a:xfrm>
          </p:grpSpPr>
          <p:sp>
            <p:nvSpPr>
              <p:cNvPr id="75" name="Ellipse 74"/>
              <p:cNvSpPr/>
              <p:nvPr/>
            </p:nvSpPr>
            <p:spPr>
              <a:xfrm>
                <a:off x="2786380" y="3561079"/>
                <a:ext cx="274320" cy="27432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143"/>
              </a:p>
            </p:txBody>
          </p:sp>
          <p:sp>
            <p:nvSpPr>
              <p:cNvPr id="76" name="Ellipse 75"/>
              <p:cNvSpPr/>
              <p:nvPr/>
            </p:nvSpPr>
            <p:spPr>
              <a:xfrm>
                <a:off x="2835835" y="3610534"/>
                <a:ext cx="175410" cy="17541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143"/>
              </a:p>
            </p:txBody>
          </p:sp>
        </p:grpSp>
      </p:grpSp>
      <p:grpSp>
        <p:nvGrpSpPr>
          <p:cNvPr id="89" name="Gruppieren 88"/>
          <p:cNvGrpSpPr/>
          <p:nvPr/>
        </p:nvGrpSpPr>
        <p:grpSpPr>
          <a:xfrm>
            <a:off x="856112" y="4797812"/>
            <a:ext cx="1402839" cy="410101"/>
            <a:chOff x="679450" y="4049641"/>
            <a:chExt cx="1113473" cy="325509"/>
          </a:xfrm>
        </p:grpSpPr>
        <p:cxnSp>
          <p:nvCxnSpPr>
            <p:cNvPr id="41" name="Gerader Verbinder 40"/>
            <p:cNvCxnSpPr>
              <a:endCxn id="30" idx="2"/>
            </p:cNvCxnSpPr>
            <p:nvPr/>
          </p:nvCxnSpPr>
          <p:spPr>
            <a:xfrm flipV="1">
              <a:off x="679450" y="4202041"/>
              <a:ext cx="888608" cy="173109"/>
            </a:xfrm>
            <a:prstGeom prst="line">
              <a:avLst/>
            </a:prstGeom>
            <a:ln w="57150" cap="rnd">
              <a:gradFill>
                <a:gsLst>
                  <a:gs pos="11000">
                    <a:schemeClr val="accent1">
                      <a:lumMod val="5000"/>
                      <a:lumOff val="95000"/>
                    </a:schemeClr>
                  </a:gs>
                  <a:gs pos="42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18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7" name="Gruppieren 76"/>
            <p:cNvGrpSpPr/>
            <p:nvPr/>
          </p:nvGrpSpPr>
          <p:grpSpPr>
            <a:xfrm>
              <a:off x="1518603" y="4049641"/>
              <a:ext cx="274320" cy="274320"/>
              <a:chOff x="2786380" y="3561079"/>
              <a:chExt cx="274320" cy="274320"/>
            </a:xfrm>
          </p:grpSpPr>
          <p:sp>
            <p:nvSpPr>
              <p:cNvPr id="78" name="Ellipse 77"/>
              <p:cNvSpPr/>
              <p:nvPr/>
            </p:nvSpPr>
            <p:spPr>
              <a:xfrm>
                <a:off x="2786380" y="3561079"/>
                <a:ext cx="274320" cy="27432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143"/>
              </a:p>
            </p:txBody>
          </p:sp>
          <p:sp>
            <p:nvSpPr>
              <p:cNvPr id="79" name="Ellipse 78"/>
              <p:cNvSpPr/>
              <p:nvPr/>
            </p:nvSpPr>
            <p:spPr>
              <a:xfrm>
                <a:off x="2835835" y="3610534"/>
                <a:ext cx="175410" cy="17541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143"/>
              </a:p>
            </p:txBody>
          </p:sp>
        </p:grpSp>
      </p:grpSp>
      <p:cxnSp>
        <p:nvCxnSpPr>
          <p:cNvPr id="84" name="Gerader Verbinder 83"/>
          <p:cNvCxnSpPr/>
          <p:nvPr/>
        </p:nvCxnSpPr>
        <p:spPr>
          <a:xfrm flipV="1">
            <a:off x="9293425" y="2003506"/>
            <a:ext cx="167098" cy="133950"/>
          </a:xfrm>
          <a:prstGeom prst="line">
            <a:avLst/>
          </a:prstGeom>
          <a:ln w="57150" cap="rnd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3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itel 1"/>
          <p:cNvSpPr>
            <a:spLocks noGrp="1"/>
          </p:cNvSpPr>
          <p:nvPr>
            <p:ph type="title"/>
          </p:nvPr>
        </p:nvSpPr>
        <p:spPr>
          <a:xfrm>
            <a:off x="720078" y="435601"/>
            <a:ext cx="10081196" cy="276926"/>
          </a:xfrm>
        </p:spPr>
        <p:txBody>
          <a:bodyPr/>
          <a:lstStyle/>
          <a:p>
            <a:r>
              <a:rPr lang="en-GB" dirty="0"/>
              <a:t>Our history of automated driving: carrying the legacy forward </a:t>
            </a:r>
          </a:p>
        </p:txBody>
      </p:sp>
      <p:pic>
        <p:nvPicPr>
          <p:cNvPr id="11" name="Grafik 11">
            <a:extLst>
              <a:ext uri="{FF2B5EF4-FFF2-40B4-BE49-F238E27FC236}">
                <a16:creationId xmlns:a16="http://schemas.microsoft.com/office/drawing/2014/main" id="{2943418F-9FCA-CAA8-C0F6-538362CC71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1339" y="2067091"/>
            <a:ext cx="2231647" cy="1254564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Footer Placeholder 2">
            <a:extLst>
              <a:ext uri="{FF2B5EF4-FFF2-40B4-BE49-F238E27FC236}">
                <a16:creationId xmlns:a16="http://schemas.microsoft.com/office/drawing/2014/main" id="{2247E428-FE5B-5161-B6BC-31E5E05AE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83645" y="5926525"/>
            <a:ext cx="5489555" cy="108000"/>
          </a:xfrm>
        </p:spPr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5596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25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75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25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750"/>
                            </p:stCondLst>
                            <p:childTnLst>
                              <p:par>
                                <p:cTn id="2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25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750"/>
                            </p:stCondLst>
                            <p:childTnLst>
                              <p:par>
                                <p:cTn id="3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250"/>
                            </p:stCondLst>
                            <p:childTnLst>
                              <p:par>
                                <p:cTn id="3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750"/>
                            </p:stCondLst>
                            <p:childTnLst>
                              <p:par>
                                <p:cTn id="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97753C8-1ED8-6A20-B80E-093B61B82913}"/>
              </a:ext>
            </a:extLst>
          </p:cNvPr>
          <p:cNvSpPr/>
          <p:nvPr/>
        </p:nvSpPr>
        <p:spPr>
          <a:xfrm>
            <a:off x="0" y="5692608"/>
            <a:ext cx="11544238" cy="823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073ED5-45A8-E5C2-2E4D-07A95A279F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EB73FD-378E-7832-9628-02DC62C70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4090D7-F969-CBAD-43C2-8DB0DE381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2B57007-9180-51B2-87F5-3A8A118EB5E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02"/>
            <a:ext cx="7127875" cy="277178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DD9CFA0-716F-E831-0A7A-5198CE31CCDE}"/>
              </a:ext>
            </a:extLst>
          </p:cNvPr>
          <p:cNvSpPr/>
          <p:nvPr/>
        </p:nvSpPr>
        <p:spPr>
          <a:xfrm>
            <a:off x="7127875" y="2769406"/>
            <a:ext cx="4392613" cy="371076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735A46-F882-C296-715E-C9D031D84A5D}"/>
              </a:ext>
            </a:extLst>
          </p:cNvPr>
          <p:cNvSpPr/>
          <p:nvPr/>
        </p:nvSpPr>
        <p:spPr>
          <a:xfrm>
            <a:off x="7127875" y="203"/>
            <a:ext cx="4392613" cy="276920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1F2C9D9-20F7-76B5-25D2-A55397432134}"/>
              </a:ext>
            </a:extLst>
          </p:cNvPr>
          <p:cNvSpPr txBox="1">
            <a:spLocks/>
          </p:cNvSpPr>
          <p:nvPr/>
        </p:nvSpPr>
        <p:spPr>
          <a:xfrm>
            <a:off x="720000" y="3087646"/>
            <a:ext cx="7034587" cy="246221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639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 cap="all" baseline="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2400" b="1" dirty="0">
                <a:solidFill>
                  <a:schemeClr val="accent3"/>
                </a:solidFill>
              </a:rPr>
              <a:t>Push </a:t>
            </a:r>
            <a:r>
              <a:rPr lang="de-DE" sz="2400" b="1" dirty="0" err="1">
                <a:solidFill>
                  <a:schemeClr val="accent3"/>
                </a:solidFill>
              </a:rPr>
              <a:t>towards</a:t>
            </a:r>
            <a:r>
              <a:rPr lang="de-DE" sz="2400" b="1" dirty="0">
                <a:solidFill>
                  <a:schemeClr val="accent3"/>
                </a:solidFill>
              </a:rPr>
              <a:t> 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de-DE" sz="2400" b="1" dirty="0" err="1">
                <a:solidFill>
                  <a:schemeClr val="accent3"/>
                </a:solidFill>
              </a:rPr>
              <a:t>higher</a:t>
            </a:r>
            <a:r>
              <a:rPr lang="de-DE" sz="2400" b="1" dirty="0">
                <a:solidFill>
                  <a:schemeClr val="accent3"/>
                </a:solidFill>
              </a:rPr>
              <a:t> </a:t>
            </a:r>
            <a:r>
              <a:rPr lang="de-DE" sz="2400" b="1" dirty="0" err="1">
                <a:solidFill>
                  <a:schemeClr val="accent3"/>
                </a:solidFill>
              </a:rPr>
              <a:t>automation</a:t>
            </a:r>
            <a:endParaRPr lang="de-DE" sz="2400" b="1" dirty="0">
              <a:solidFill>
                <a:schemeClr val="accent3"/>
              </a:solidFill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cap="none" dirty="0">
                <a:solidFill>
                  <a:schemeClr val="tx2"/>
                </a:solidFill>
              </a:rPr>
              <a:t>Robust and reliable automated driving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cap="none" dirty="0">
                <a:solidFill>
                  <a:schemeClr val="tx2"/>
                </a:solidFill>
              </a:rPr>
              <a:t>Extended and defragmented ODDs 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cap="none" dirty="0">
                <a:solidFill>
                  <a:schemeClr val="tx2"/>
                </a:solidFill>
              </a:rPr>
              <a:t>Interoperability across countries and brand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57C6064-4366-036B-B4A9-60DB2A482F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13000" y="656323"/>
            <a:ext cx="4207488" cy="4991069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E3A6CA6A-3707-4F10-D030-0B68DF04CB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66085" y="439200"/>
            <a:ext cx="2526315" cy="8640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92E6C34-A7A4-D6E6-C70E-24E8170CD9CD}"/>
              </a:ext>
            </a:extLst>
          </p:cNvPr>
          <p:cNvSpPr/>
          <p:nvPr/>
        </p:nvSpPr>
        <p:spPr>
          <a:xfrm>
            <a:off x="7041931" y="3309342"/>
            <a:ext cx="594744" cy="1360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61FA3A7-72D0-D4C8-AFE1-0FB5CF417478}"/>
              </a:ext>
            </a:extLst>
          </p:cNvPr>
          <p:cNvSpPr/>
          <p:nvPr/>
        </p:nvSpPr>
        <p:spPr>
          <a:xfrm>
            <a:off x="7129144" y="3309342"/>
            <a:ext cx="540000" cy="1360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148C469-D644-8181-661A-0BCD2CCCD75A}"/>
              </a:ext>
            </a:extLst>
          </p:cNvPr>
          <p:cNvSpPr txBox="1"/>
          <p:nvPr/>
        </p:nvSpPr>
        <p:spPr>
          <a:xfrm rot="16200000">
            <a:off x="6638709" y="2287703"/>
            <a:ext cx="76335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700" b="0" i="0" kern="1200" dirty="0">
                <a:solidFill>
                  <a:schemeClr val="tx2">
                    <a:lumMod val="20000"/>
                    <a:lumOff val="80000"/>
                  </a:schemeClr>
                </a:solidFill>
                <a:effectLst/>
                <a:latin typeface="+mn-lt"/>
                <a:ea typeface="+mn-ea"/>
                <a:cs typeface="+mn-cs"/>
              </a:rPr>
              <a:t>© Volkswagen</a:t>
            </a:r>
            <a:endParaRPr lang="en-DE" sz="700" dirty="0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214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E9376D3-0B0C-B322-BFF0-1FECB77B1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435600"/>
            <a:ext cx="10081350" cy="276999"/>
          </a:xfrm>
        </p:spPr>
        <p:txBody>
          <a:bodyPr/>
          <a:lstStyle/>
          <a:p>
            <a:r>
              <a:rPr lang="en-GB" dirty="0"/>
              <a:t>Operational Design Domain – ODD</a:t>
            </a:r>
            <a:endParaRPr lang="en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A69946-216A-4694-E5E9-906754D68E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5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CA0220-0AB7-98DB-DF4C-584A2EE4CF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351" y="2886530"/>
            <a:ext cx="6498208" cy="2935820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3819929-A316-4E86-4F09-D6CDA48C5BF3}"/>
              </a:ext>
            </a:extLst>
          </p:cNvPr>
          <p:cNvSpPr txBox="1">
            <a:spLocks/>
          </p:cNvSpPr>
          <p:nvPr/>
        </p:nvSpPr>
        <p:spPr>
          <a:xfrm>
            <a:off x="7394713" y="3089740"/>
            <a:ext cx="3717936" cy="1862403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375958" indent="-215996" algn="l" defTabSz="86398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52" indent="-215996" algn="l" defTabSz="86398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42" indent="-215996" algn="l" defTabSz="86398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34" indent="-215996" algn="l" defTabSz="86398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ODD - “Operating conditions under which a given driving automation system […] is specifically designed to function […] to environmental, geographical, and time-of-day restrictions, and/or the requisite presence or absence of certain traffic or roadway characteristics.” *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C6827D-443A-F02D-D305-9B3DE5FC59A6}"/>
              </a:ext>
            </a:extLst>
          </p:cNvPr>
          <p:cNvSpPr txBox="1"/>
          <p:nvPr/>
        </p:nvSpPr>
        <p:spPr>
          <a:xfrm>
            <a:off x="10104446" y="5945501"/>
            <a:ext cx="1008203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indent="0">
              <a:buNone/>
            </a:pPr>
            <a:r>
              <a:rPr lang="en-GB" sz="900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*SAE J3016 (2021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4829303-2D85-6272-A2B9-3A47163A84B7}"/>
              </a:ext>
            </a:extLst>
          </p:cNvPr>
          <p:cNvSpPr/>
          <p:nvPr/>
        </p:nvSpPr>
        <p:spPr>
          <a:xfrm>
            <a:off x="7127875" y="472361"/>
            <a:ext cx="508800" cy="13606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61C36B-17F1-D430-8E6D-E4A695E4B2D6}"/>
              </a:ext>
            </a:extLst>
          </p:cNvPr>
          <p:cNvSpPr/>
          <p:nvPr/>
        </p:nvSpPr>
        <p:spPr>
          <a:xfrm>
            <a:off x="6004675" y="472361"/>
            <a:ext cx="540000" cy="1360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9336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63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41 -2.50367E-6 L 0.0977 -2.50367E-6 " pathEditMode="relative" rAng="0" ptsTypes="AA">
                                      <p:cBhvr>
                                        <p:cTn id="13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86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40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9" grpId="0"/>
      <p:bldP spid="11" grpId="0" animBg="1"/>
      <p:bldP spid="11" grpId="1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E2ADD8-6642-008B-2569-52CD1E201D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435600"/>
            <a:ext cx="10081350" cy="553998"/>
          </a:xfrm>
        </p:spPr>
        <p:txBody>
          <a:bodyPr/>
          <a:lstStyle/>
          <a:p>
            <a:r>
              <a:rPr lang="en-GB" dirty="0"/>
              <a:t>Defragmentation of Operational Design Domain</a:t>
            </a:r>
            <a:br>
              <a:rPr lang="en-GB" dirty="0"/>
            </a:b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9F2146-018A-EBBF-099B-B6C891AA45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2D03A7-86B9-0FF1-C59C-5F02D20558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6</a:t>
            </a:fld>
            <a:endParaRPr lang="en-US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07CF10E-930F-308E-8CBB-EC0CDC2CC122}"/>
              </a:ext>
            </a:extLst>
          </p:cNvPr>
          <p:cNvSpPr txBox="1">
            <a:spLocks/>
          </p:cNvSpPr>
          <p:nvPr/>
        </p:nvSpPr>
        <p:spPr>
          <a:xfrm>
            <a:off x="7247153" y="1005128"/>
            <a:ext cx="3588026" cy="4120672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375958" indent="-215996" algn="l" defTabSz="86398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52" indent="-215996" algn="l" defTabSz="86398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42" indent="-215996" algn="l" defTabSz="86398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34" indent="-215996" algn="l" defTabSz="86398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E" sz="2000" dirty="0"/>
              <a:t>Enabling via</a:t>
            </a:r>
            <a:endParaRPr lang="en-GB" sz="2000" dirty="0"/>
          </a:p>
          <a:p>
            <a:r>
              <a:rPr lang="en-GB" sz="1200" dirty="0"/>
              <a:t>Resilience to </a:t>
            </a:r>
            <a:r>
              <a:rPr lang="en-GB" sz="1200" b="1" dirty="0"/>
              <a:t>cyber</a:t>
            </a:r>
            <a:r>
              <a:rPr lang="en-GB" sz="1200" dirty="0"/>
              <a:t> threats</a:t>
            </a:r>
          </a:p>
          <a:p>
            <a:r>
              <a:rPr lang="en-GB" sz="1200" b="1" dirty="0">
                <a:highlight>
                  <a:srgbClr val="FFFF00"/>
                </a:highlight>
              </a:rPr>
              <a:t>Interoperability</a:t>
            </a:r>
            <a:r>
              <a:rPr lang="en-GB" sz="1200" dirty="0">
                <a:highlight>
                  <a:srgbClr val="FFFF00"/>
                </a:highlight>
              </a:rPr>
              <a:t>: vehicles of different brands, including trucks, communicating V2V; cooperative sensing and manoeuvring</a:t>
            </a:r>
          </a:p>
          <a:p>
            <a:r>
              <a:rPr lang="en-GB" sz="1200" b="1" dirty="0"/>
              <a:t>Interactive vehicles</a:t>
            </a:r>
            <a:r>
              <a:rPr lang="en-GB" sz="1200" dirty="0"/>
              <a:t>: AVs communicating and interacting with vulnerable road users (V2P, VRU).</a:t>
            </a:r>
          </a:p>
          <a:p>
            <a:r>
              <a:rPr lang="en-GB" sz="1200" dirty="0"/>
              <a:t>AV’s </a:t>
            </a:r>
            <a:r>
              <a:rPr lang="en-GB" sz="1200" b="1" dirty="0"/>
              <a:t>HMI</a:t>
            </a:r>
            <a:r>
              <a:rPr lang="en-GB" sz="1200" dirty="0"/>
              <a:t>: Monitoring supports driver’s / operator’s situational awareness.</a:t>
            </a:r>
          </a:p>
          <a:p>
            <a:r>
              <a:rPr lang="en-GB" sz="1200" b="1" dirty="0"/>
              <a:t>TMC</a:t>
            </a:r>
            <a:r>
              <a:rPr lang="en-GB" sz="1200" dirty="0"/>
              <a:t> = Traffic Management </a:t>
            </a:r>
            <a:r>
              <a:rPr lang="en-GB" sz="1200" dirty="0" err="1"/>
              <a:t>Center</a:t>
            </a:r>
            <a:endParaRPr lang="en-GB" sz="1200" dirty="0"/>
          </a:p>
          <a:p>
            <a:r>
              <a:rPr lang="en-GB" sz="1200" dirty="0"/>
              <a:t>Extended field of view: AV receiving information (</a:t>
            </a:r>
            <a:r>
              <a:rPr lang="en-GB" sz="1200" b="1" dirty="0"/>
              <a:t>V2I, HD maps</a:t>
            </a:r>
            <a:r>
              <a:rPr lang="en-GB" sz="1200" dirty="0"/>
              <a:t>) to adapt to traffic beyond the line of sight.</a:t>
            </a:r>
          </a:p>
          <a:p>
            <a:r>
              <a:rPr lang="en-GB" sz="1200" b="1" dirty="0"/>
              <a:t>Precise</a:t>
            </a:r>
            <a:r>
              <a:rPr lang="en-GB" sz="1200" dirty="0"/>
              <a:t> localization: vehicle </a:t>
            </a:r>
            <a:r>
              <a:rPr lang="en-GB" sz="1200" b="1" dirty="0"/>
              <a:t>positioning</a:t>
            </a:r>
            <a:r>
              <a:rPr lang="en-GB" sz="1200" dirty="0"/>
              <a:t> system to eliminate GNSS blackspots.</a:t>
            </a:r>
          </a:p>
          <a:p>
            <a:r>
              <a:rPr lang="en-GB" sz="1200" dirty="0"/>
              <a:t>Use of disruptive technologies such as </a:t>
            </a:r>
            <a:r>
              <a:rPr lang="en-GB" sz="1200" b="1" dirty="0"/>
              <a:t>Big Data</a:t>
            </a:r>
            <a:r>
              <a:rPr lang="en-GB" sz="1200" dirty="0"/>
              <a:t>, IoT, Machine Learning (</a:t>
            </a:r>
            <a:r>
              <a:rPr lang="en-GB" sz="1200" b="1" dirty="0"/>
              <a:t>ML</a:t>
            </a:r>
            <a:r>
              <a:rPr lang="en-GB" sz="1200" dirty="0"/>
              <a:t>) and Teleoperation systems for seamless functioning in demanding travel conditions: complex traffic scenarios and weather conditions.</a:t>
            </a:r>
          </a:p>
        </p:txBody>
      </p:sp>
      <p:sp>
        <p:nvSpPr>
          <p:cNvPr id="7" name="Rectangle 6"/>
          <p:cNvSpPr/>
          <p:nvPr/>
        </p:nvSpPr>
        <p:spPr>
          <a:xfrm>
            <a:off x="5617029" y="2923592"/>
            <a:ext cx="814873" cy="3545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" y="839932"/>
            <a:ext cx="5531331" cy="4688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242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2EAFBB86-A025-55E1-F17F-A59669DA6A62}"/>
              </a:ext>
            </a:extLst>
          </p:cNvPr>
          <p:cNvSpPr/>
          <p:nvPr/>
        </p:nvSpPr>
        <p:spPr>
          <a:xfrm>
            <a:off x="1715474" y="5692608"/>
            <a:ext cx="9828763" cy="823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A0E8542-49FB-0A58-59D3-BE27288D74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E7BBA5B2-0E67-20F1-B86D-F774AE1E20C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-58593" y="-49736"/>
            <a:ext cx="11637674" cy="6543787"/>
          </a:xfr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7EF390F5-5219-D9F1-33A3-B75D5267E3A8}"/>
              </a:ext>
            </a:extLst>
          </p:cNvPr>
          <p:cNvGrpSpPr/>
          <p:nvPr/>
        </p:nvGrpSpPr>
        <p:grpSpPr>
          <a:xfrm>
            <a:off x="1283475" y="4897419"/>
            <a:ext cx="10140798" cy="620884"/>
            <a:chOff x="1382865" y="1448235"/>
            <a:chExt cx="10140798" cy="620884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A2AE511-A186-08FA-ABD6-91323DFC8B40}"/>
                </a:ext>
              </a:extLst>
            </p:cNvPr>
            <p:cNvSpPr/>
            <p:nvPr userDrawn="1"/>
          </p:nvSpPr>
          <p:spPr>
            <a:xfrm>
              <a:off x="4899246" y="1448235"/>
              <a:ext cx="432000" cy="9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EAAA0FA-448F-1855-0CD4-2D5523D68C06}"/>
                </a:ext>
              </a:extLst>
            </p:cNvPr>
            <p:cNvSpPr/>
            <p:nvPr userDrawn="1"/>
          </p:nvSpPr>
          <p:spPr>
            <a:xfrm>
              <a:off x="2527042" y="1959214"/>
              <a:ext cx="432000" cy="9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B129E49-EF98-8248-55E5-5D469100DF84}"/>
                </a:ext>
              </a:extLst>
            </p:cNvPr>
            <p:cNvSpPr/>
            <p:nvPr userDrawn="1"/>
          </p:nvSpPr>
          <p:spPr>
            <a:xfrm>
              <a:off x="5574407" y="1567650"/>
              <a:ext cx="432000" cy="9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74FBE24-31D9-93EF-D88F-C8FBB27E70DC}"/>
                </a:ext>
              </a:extLst>
            </p:cNvPr>
            <p:cNvSpPr/>
            <p:nvPr userDrawn="1"/>
          </p:nvSpPr>
          <p:spPr>
            <a:xfrm>
              <a:off x="7703329" y="1979119"/>
              <a:ext cx="432000" cy="9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DE309262-26E4-BD5D-E8E6-C24B2AC617D1}"/>
                </a:ext>
              </a:extLst>
            </p:cNvPr>
            <p:cNvSpPr/>
            <p:nvPr userDrawn="1"/>
          </p:nvSpPr>
          <p:spPr>
            <a:xfrm>
              <a:off x="3186488" y="1713677"/>
              <a:ext cx="1290976" cy="180000"/>
            </a:xfrm>
            <a:custGeom>
              <a:avLst/>
              <a:gdLst>
                <a:gd name="connsiteX0" fmla="*/ 0 w 1290976"/>
                <a:gd name="connsiteY0" fmla="*/ 0 h 180000"/>
                <a:gd name="connsiteX1" fmla="*/ 1290976 w 1290976"/>
                <a:gd name="connsiteY1" fmla="*/ 0 h 180000"/>
                <a:gd name="connsiteX2" fmla="*/ 1290976 w 1290976"/>
                <a:gd name="connsiteY2" fmla="*/ 180000 h 180000"/>
                <a:gd name="connsiteX3" fmla="*/ 432000 w 1290976"/>
                <a:gd name="connsiteY3" fmla="*/ 180000 h 180000"/>
                <a:gd name="connsiteX4" fmla="*/ 432000 w 1290976"/>
                <a:gd name="connsiteY4" fmla="*/ 90000 h 180000"/>
                <a:gd name="connsiteX5" fmla="*/ 0 w 1290976"/>
                <a:gd name="connsiteY5" fmla="*/ 9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0976" h="180000">
                  <a:moveTo>
                    <a:pt x="0" y="0"/>
                  </a:moveTo>
                  <a:lnTo>
                    <a:pt x="1290976" y="0"/>
                  </a:lnTo>
                  <a:lnTo>
                    <a:pt x="1290976" y="180000"/>
                  </a:lnTo>
                  <a:lnTo>
                    <a:pt x="432000" y="180000"/>
                  </a:lnTo>
                  <a:lnTo>
                    <a:pt x="432000" y="90000"/>
                  </a:lnTo>
                  <a:lnTo>
                    <a:pt x="0" y="900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D985FC5D-2B5E-7153-0B02-C55EC815218E}"/>
                </a:ext>
              </a:extLst>
            </p:cNvPr>
            <p:cNvSpPr/>
            <p:nvPr userDrawn="1"/>
          </p:nvSpPr>
          <p:spPr>
            <a:xfrm>
              <a:off x="7055572" y="1713677"/>
              <a:ext cx="4468091" cy="180000"/>
            </a:xfrm>
            <a:custGeom>
              <a:avLst/>
              <a:gdLst>
                <a:gd name="connsiteX0" fmla="*/ 0 w 4468091"/>
                <a:gd name="connsiteY0" fmla="*/ 0 h 180000"/>
                <a:gd name="connsiteX1" fmla="*/ 4468091 w 4468091"/>
                <a:gd name="connsiteY1" fmla="*/ 0 h 180000"/>
                <a:gd name="connsiteX2" fmla="*/ 4468091 w 4468091"/>
                <a:gd name="connsiteY2" fmla="*/ 180000 h 180000"/>
                <a:gd name="connsiteX3" fmla="*/ 1877674 w 4468091"/>
                <a:gd name="connsiteY3" fmla="*/ 180000 h 180000"/>
                <a:gd name="connsiteX4" fmla="*/ 1575877 w 4468091"/>
                <a:gd name="connsiteY4" fmla="*/ 180000 h 180000"/>
                <a:gd name="connsiteX5" fmla="*/ 1445674 w 4468091"/>
                <a:gd name="connsiteY5" fmla="*/ 180000 h 180000"/>
                <a:gd name="connsiteX6" fmla="*/ 1445674 w 4468091"/>
                <a:gd name="connsiteY6" fmla="*/ 90000 h 180000"/>
                <a:gd name="connsiteX7" fmla="*/ 1013272 w 4468091"/>
                <a:gd name="connsiteY7" fmla="*/ 90000 h 180000"/>
                <a:gd name="connsiteX8" fmla="*/ 1013272 w 4468091"/>
                <a:gd name="connsiteY8" fmla="*/ 108124 h 180000"/>
                <a:gd name="connsiteX9" fmla="*/ 1012938 w 4468091"/>
                <a:gd name="connsiteY9" fmla="*/ 108124 h 180000"/>
                <a:gd name="connsiteX10" fmla="*/ 1012938 w 4468091"/>
                <a:gd name="connsiteY10" fmla="*/ 180000 h 180000"/>
                <a:gd name="connsiteX11" fmla="*/ 0 w 4468091"/>
                <a:gd name="connsiteY11" fmla="*/ 18000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68091" h="180000">
                  <a:moveTo>
                    <a:pt x="0" y="0"/>
                  </a:moveTo>
                  <a:lnTo>
                    <a:pt x="4468091" y="0"/>
                  </a:lnTo>
                  <a:lnTo>
                    <a:pt x="4468091" y="180000"/>
                  </a:lnTo>
                  <a:lnTo>
                    <a:pt x="1877674" y="180000"/>
                  </a:lnTo>
                  <a:lnTo>
                    <a:pt x="1575877" y="180000"/>
                  </a:lnTo>
                  <a:lnTo>
                    <a:pt x="1445674" y="180000"/>
                  </a:lnTo>
                  <a:lnTo>
                    <a:pt x="1445674" y="90000"/>
                  </a:lnTo>
                  <a:lnTo>
                    <a:pt x="1013272" y="90000"/>
                  </a:lnTo>
                  <a:lnTo>
                    <a:pt x="1013272" y="108124"/>
                  </a:lnTo>
                  <a:lnTo>
                    <a:pt x="1012938" y="108124"/>
                  </a:lnTo>
                  <a:lnTo>
                    <a:pt x="1012938" y="180000"/>
                  </a:lnTo>
                  <a:lnTo>
                    <a:pt x="0" y="180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 dirty="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02EB1552-32D4-36D1-B515-8136E370FB5F}"/>
                </a:ext>
              </a:extLst>
            </p:cNvPr>
            <p:cNvSpPr/>
            <p:nvPr userDrawn="1"/>
          </p:nvSpPr>
          <p:spPr>
            <a:xfrm>
              <a:off x="4476286" y="1713677"/>
              <a:ext cx="1296000" cy="180000"/>
            </a:xfrm>
            <a:custGeom>
              <a:avLst/>
              <a:gdLst>
                <a:gd name="connsiteX0" fmla="*/ 0 w 1296000"/>
                <a:gd name="connsiteY0" fmla="*/ 0 h 180000"/>
                <a:gd name="connsiteX1" fmla="*/ 1296000 w 1296000"/>
                <a:gd name="connsiteY1" fmla="*/ 0 h 180000"/>
                <a:gd name="connsiteX2" fmla="*/ 1296000 w 1296000"/>
                <a:gd name="connsiteY2" fmla="*/ 180000 h 180000"/>
                <a:gd name="connsiteX3" fmla="*/ 1164285 w 1296000"/>
                <a:gd name="connsiteY3" fmla="*/ 180000 h 180000"/>
                <a:gd name="connsiteX4" fmla="*/ 1164285 w 1296000"/>
                <a:gd name="connsiteY4" fmla="*/ 90000 h 180000"/>
                <a:gd name="connsiteX5" fmla="*/ 732285 w 1296000"/>
                <a:gd name="connsiteY5" fmla="*/ 90000 h 180000"/>
                <a:gd name="connsiteX6" fmla="*/ 732285 w 1296000"/>
                <a:gd name="connsiteY6" fmla="*/ 180000 h 180000"/>
                <a:gd name="connsiteX7" fmla="*/ 0 w 1296000"/>
                <a:gd name="connsiteY7" fmla="*/ 180000 h 180000"/>
                <a:gd name="connsiteX8" fmla="*/ 0 w 1296000"/>
                <a:gd name="connsiteY8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6000" h="180000">
                  <a:moveTo>
                    <a:pt x="0" y="0"/>
                  </a:moveTo>
                  <a:lnTo>
                    <a:pt x="1296000" y="0"/>
                  </a:lnTo>
                  <a:lnTo>
                    <a:pt x="1296000" y="180000"/>
                  </a:lnTo>
                  <a:lnTo>
                    <a:pt x="1164285" y="180000"/>
                  </a:lnTo>
                  <a:lnTo>
                    <a:pt x="1164285" y="90000"/>
                  </a:lnTo>
                  <a:lnTo>
                    <a:pt x="732285" y="90000"/>
                  </a:lnTo>
                  <a:lnTo>
                    <a:pt x="732285" y="180000"/>
                  </a:lnTo>
                  <a:lnTo>
                    <a:pt x="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F27ED5ED-C27C-1954-FAB2-AEED9DFE4B1D}"/>
                </a:ext>
              </a:extLst>
            </p:cNvPr>
            <p:cNvSpPr/>
            <p:nvPr userDrawn="1"/>
          </p:nvSpPr>
          <p:spPr>
            <a:xfrm>
              <a:off x="5760665" y="1713677"/>
              <a:ext cx="1295328" cy="180000"/>
            </a:xfrm>
            <a:custGeom>
              <a:avLst/>
              <a:gdLst>
                <a:gd name="connsiteX0" fmla="*/ 0 w 1295328"/>
                <a:gd name="connsiteY0" fmla="*/ 0 h 180000"/>
                <a:gd name="connsiteX1" fmla="*/ 518350 w 1295328"/>
                <a:gd name="connsiteY1" fmla="*/ 0 h 180000"/>
                <a:gd name="connsiteX2" fmla="*/ 518350 w 1295328"/>
                <a:gd name="connsiteY2" fmla="*/ 90000 h 180000"/>
                <a:gd name="connsiteX3" fmla="*/ 950350 w 1295328"/>
                <a:gd name="connsiteY3" fmla="*/ 90000 h 180000"/>
                <a:gd name="connsiteX4" fmla="*/ 950350 w 1295328"/>
                <a:gd name="connsiteY4" fmla="*/ 0 h 180000"/>
                <a:gd name="connsiteX5" fmla="*/ 1295328 w 1295328"/>
                <a:gd name="connsiteY5" fmla="*/ 0 h 180000"/>
                <a:gd name="connsiteX6" fmla="*/ 1295328 w 1295328"/>
                <a:gd name="connsiteY6" fmla="*/ 180000 h 180000"/>
                <a:gd name="connsiteX7" fmla="*/ 0 w 1295328"/>
                <a:gd name="connsiteY7" fmla="*/ 180000 h 180000"/>
                <a:gd name="connsiteX8" fmla="*/ 0 w 1295328"/>
                <a:gd name="connsiteY8" fmla="*/ 0 h 1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5328" h="180000">
                  <a:moveTo>
                    <a:pt x="0" y="0"/>
                  </a:moveTo>
                  <a:lnTo>
                    <a:pt x="518350" y="0"/>
                  </a:lnTo>
                  <a:lnTo>
                    <a:pt x="518350" y="90000"/>
                  </a:lnTo>
                  <a:lnTo>
                    <a:pt x="950350" y="90000"/>
                  </a:lnTo>
                  <a:lnTo>
                    <a:pt x="950350" y="0"/>
                  </a:lnTo>
                  <a:lnTo>
                    <a:pt x="1295328" y="0"/>
                  </a:lnTo>
                  <a:lnTo>
                    <a:pt x="1295328" y="180000"/>
                  </a:lnTo>
                  <a:lnTo>
                    <a:pt x="0" y="18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DE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4D001BA-3F48-D630-52F3-EEFE4FCA28D7}"/>
                </a:ext>
              </a:extLst>
            </p:cNvPr>
            <p:cNvSpPr/>
            <p:nvPr userDrawn="1"/>
          </p:nvSpPr>
          <p:spPr>
            <a:xfrm>
              <a:off x="1663042" y="1805479"/>
              <a:ext cx="432000" cy="9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F106B4F-6047-0C81-49F5-EA57C648CB9B}"/>
                </a:ext>
              </a:extLst>
            </p:cNvPr>
            <p:cNvSpPr/>
            <p:nvPr userDrawn="1"/>
          </p:nvSpPr>
          <p:spPr>
            <a:xfrm>
              <a:off x="1382865" y="1536778"/>
              <a:ext cx="432000" cy="9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F451DE1-9BD1-AE9E-CB4C-9E856B50E8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510BAD-A726-8FD5-B39F-7F4670ABD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874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C813B28-7BE6-9701-0FE4-F0B841B9CC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78" y="435644"/>
            <a:ext cx="10081196" cy="276995"/>
          </a:xfrm>
        </p:spPr>
        <p:txBody>
          <a:bodyPr/>
          <a:lstStyle/>
          <a:p>
            <a:r>
              <a:rPr lang="en-DE" dirty="0"/>
              <a:t>Partner</a:t>
            </a:r>
            <a:r>
              <a:rPr lang="de-DE" dirty="0"/>
              <a:t>s</a:t>
            </a:r>
            <a:endParaRPr lang="en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0E48C9-916A-A2E3-80C5-226F29BB9C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63724"/>
            <a:fld id="{BE921D17-FF92-42FC-9E57-E0410132B00F}" type="slidenum">
              <a:rPr lang="en-US">
                <a:solidFill>
                  <a:srgbClr val="333B2F">
                    <a:tint val="75000"/>
                  </a:srgbClr>
                </a:solidFill>
                <a:latin typeface="Segoe UI"/>
              </a:rPr>
              <a:pPr defTabSz="863724"/>
              <a:t>8</a:t>
            </a:fld>
            <a:endParaRPr lang="en-US">
              <a:solidFill>
                <a:srgbClr val="333B2F">
                  <a:tint val="75000"/>
                </a:srgbClr>
              </a:solidFill>
              <a:latin typeface="Segoe UI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719217" y="1150525"/>
            <a:ext cx="10082057" cy="1007984"/>
            <a:chOff x="719138" y="1150852"/>
            <a:chExt cx="10082212" cy="1008000"/>
          </a:xfrm>
        </p:grpSpPr>
        <p:sp>
          <p:nvSpPr>
            <p:cNvPr id="21" name="Abgerundetes Rechteck 24">
              <a:extLst>
                <a:ext uri="{FF2B5EF4-FFF2-40B4-BE49-F238E27FC236}">
                  <a16:creationId xmlns:a16="http://schemas.microsoft.com/office/drawing/2014/main" id="{72F62516-777A-D75B-B880-6900D8333C7F}"/>
                </a:ext>
              </a:extLst>
            </p:cNvPr>
            <p:cNvSpPr/>
            <p:nvPr/>
          </p:nvSpPr>
          <p:spPr>
            <a:xfrm>
              <a:off x="719138" y="1150852"/>
              <a:ext cx="10082212" cy="1008000"/>
            </a:xfrm>
            <a:prstGeom prst="rect">
              <a:avLst/>
            </a:prstGeom>
            <a:noFill/>
            <a:ln w="1270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84" fontAlgn="base">
                <a:spcAft>
                  <a:spcPct val="0"/>
                </a:spcAft>
                <a:defRPr/>
              </a:pPr>
              <a:endParaRPr lang="en-US" sz="1600" kern="0" dirty="0">
                <a:solidFill>
                  <a:srgbClr val="FFFFFF"/>
                </a:solidFill>
                <a:latin typeface="Segoe UI"/>
                <a:ea typeface="Calibri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5" name="Grafik 69">
              <a:extLst>
                <a:ext uri="{FF2B5EF4-FFF2-40B4-BE49-F238E27FC236}">
                  <a16:creationId xmlns:a16="http://schemas.microsoft.com/office/drawing/2014/main" id="{D30D7F6B-77F3-C97D-3379-0A1CEBA226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28581" y="1215681"/>
              <a:ext cx="706151" cy="478165"/>
            </a:xfrm>
            <a:prstGeom prst="rect">
              <a:avLst/>
            </a:prstGeom>
          </p:spPr>
        </p:pic>
        <p:pic>
          <p:nvPicPr>
            <p:cNvPr id="16" name="Grafik 70" descr="L3Pilot_Volkswagen_Logo.png">
              <a:extLst>
                <a:ext uri="{FF2B5EF4-FFF2-40B4-BE49-F238E27FC236}">
                  <a16:creationId xmlns:a16="http://schemas.microsoft.com/office/drawing/2014/main" id="{6C5F2533-C48F-867F-CD5F-B7C0E70CF3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92803" y="1347783"/>
              <a:ext cx="1219363" cy="255455"/>
            </a:xfrm>
            <a:prstGeom prst="rect">
              <a:avLst/>
            </a:prstGeom>
          </p:spPr>
        </p:pic>
        <p:pic>
          <p:nvPicPr>
            <p:cNvPr id="17" name="Picture 42" descr="R:\interactIVe\logos\images\Ford.png">
              <a:extLst>
                <a:ext uri="{FF2B5EF4-FFF2-40B4-BE49-F238E27FC236}">
                  <a16:creationId xmlns:a16="http://schemas.microsoft.com/office/drawing/2014/main" id="{D64B9E92-9F4B-AB73-E11A-7D411660B36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/>
            <a:srcRect t="26625" b="27415"/>
            <a:stretch/>
          </p:blipFill>
          <p:spPr bwMode="auto">
            <a:xfrm>
              <a:off x="7977059" y="1269385"/>
              <a:ext cx="863206" cy="383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" name="Grafik 72">
              <a:extLst>
                <a:ext uri="{FF2B5EF4-FFF2-40B4-BE49-F238E27FC236}">
                  <a16:creationId xmlns:a16="http://schemas.microsoft.com/office/drawing/2014/main" id="{98FDF06E-66B3-2EEB-E142-56F0FA5B33A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04652" y="1241468"/>
              <a:ext cx="1142251" cy="402830"/>
            </a:xfrm>
            <a:prstGeom prst="rect">
              <a:avLst/>
            </a:prstGeom>
          </p:spPr>
        </p:pic>
        <p:pic>
          <p:nvPicPr>
            <p:cNvPr id="24" name="Grafik 74" descr="L3Pilot_Volvo_Logo.png">
              <a:extLst>
                <a:ext uri="{FF2B5EF4-FFF2-40B4-BE49-F238E27FC236}">
                  <a16:creationId xmlns:a16="http://schemas.microsoft.com/office/drawing/2014/main" id="{26F8DE69-7C4C-E184-BA36-03B715B5DAA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840184" y="1632650"/>
              <a:ext cx="454622" cy="454622"/>
            </a:xfrm>
            <a:prstGeom prst="rect">
              <a:avLst/>
            </a:prstGeom>
          </p:spPr>
        </p:pic>
        <p:pic>
          <p:nvPicPr>
            <p:cNvPr id="25" name="Grafik 79">
              <a:extLst>
                <a:ext uri="{FF2B5EF4-FFF2-40B4-BE49-F238E27FC236}">
                  <a16:creationId xmlns:a16="http://schemas.microsoft.com/office/drawing/2014/main" id="{93EF1889-E28F-2BED-8656-DFD55755EC3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02311" y="1847190"/>
              <a:ext cx="805659" cy="142423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485A5F3-99E1-B62A-CCF3-FE889FE2780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08271" y="1719253"/>
              <a:ext cx="424806" cy="337594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0D74D94C-5E3E-5C68-D462-8473D275DB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987" y="1632415"/>
              <a:ext cx="777525" cy="437358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72BB0F20-6E89-6A4F-A5FD-309513E6CC6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69167" y="1647193"/>
              <a:ext cx="454622" cy="454622"/>
            </a:xfrm>
            <a:prstGeom prst="rect">
              <a:avLst/>
            </a:prstGeom>
          </p:spPr>
        </p:pic>
        <p:pic>
          <p:nvPicPr>
            <p:cNvPr id="29" name="Picture 2" descr="Road safety and accident analysis: the LAB turns 50 | Groupe PSA">
              <a:extLst>
                <a:ext uri="{FF2B5EF4-FFF2-40B4-BE49-F238E27FC236}">
                  <a16:creationId xmlns:a16="http://schemas.microsoft.com/office/drawing/2014/main" id="{8D75EB00-F770-CCFE-1747-E1852DD778D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294" t="24804" r="13323" b="9963"/>
            <a:stretch/>
          </p:blipFill>
          <p:spPr bwMode="auto">
            <a:xfrm>
              <a:off x="5171806" y="1632650"/>
              <a:ext cx="863206" cy="428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191D6BE4-C259-6888-BE5B-B75ED0D18F5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/>
            <a:srcRect l="-552" r="33428"/>
            <a:stretch/>
          </p:blipFill>
          <p:spPr bwMode="auto">
            <a:xfrm>
              <a:off x="5735726" y="1208584"/>
              <a:ext cx="1850653" cy="452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2">
              <a:extLst>
                <a:ext uri="{FF2B5EF4-FFF2-40B4-BE49-F238E27FC236}">
                  <a16:creationId xmlns:a16="http://schemas.microsoft.com/office/drawing/2014/main" id="{49ED1597-924B-1E85-3F81-21310C5B490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/>
            <a:srcRect l="-552" r="49090"/>
            <a:stretch/>
          </p:blipFill>
          <p:spPr bwMode="auto">
            <a:xfrm>
              <a:off x="3046791" y="1671182"/>
              <a:ext cx="1418831" cy="452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 8"/>
          <p:cNvGrpSpPr/>
          <p:nvPr/>
        </p:nvGrpSpPr>
        <p:grpSpPr>
          <a:xfrm>
            <a:off x="719215" y="2278627"/>
            <a:ext cx="10080708" cy="763188"/>
            <a:chOff x="719138" y="2272306"/>
            <a:chExt cx="10080862" cy="763200"/>
          </a:xfrm>
        </p:grpSpPr>
        <p:pic>
          <p:nvPicPr>
            <p:cNvPr id="37" name="Grafik 29">
              <a:extLst>
                <a:ext uri="{FF2B5EF4-FFF2-40B4-BE49-F238E27FC236}">
                  <a16:creationId xmlns:a16="http://schemas.microsoft.com/office/drawing/2014/main" id="{E027D35E-A92A-4477-113E-009846F4F3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61144" y="2584521"/>
              <a:ext cx="603925" cy="156543"/>
            </a:xfrm>
            <a:prstGeom prst="rect">
              <a:avLst/>
            </a:prstGeom>
          </p:spPr>
        </p:pic>
        <p:pic>
          <p:nvPicPr>
            <p:cNvPr id="38" name="Grafik 6">
              <a:extLst>
                <a:ext uri="{FF2B5EF4-FFF2-40B4-BE49-F238E27FC236}">
                  <a16:creationId xmlns:a16="http://schemas.microsoft.com/office/drawing/2014/main" id="{74627C4E-F676-340C-6EE7-FBD0515CC8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1735" y="2538784"/>
              <a:ext cx="1070126" cy="241018"/>
            </a:xfrm>
            <a:prstGeom prst="rect">
              <a:avLst/>
            </a:prstGeom>
          </p:spPr>
        </p:pic>
        <p:pic>
          <p:nvPicPr>
            <p:cNvPr id="39" name="Picture 8">
              <a:extLst>
                <a:ext uri="{FF2B5EF4-FFF2-40B4-BE49-F238E27FC236}">
                  <a16:creationId xmlns:a16="http://schemas.microsoft.com/office/drawing/2014/main" id="{038C4B5A-0F17-7812-186B-9E9DF730A3C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97182" y="2413703"/>
              <a:ext cx="1107693" cy="468000"/>
            </a:xfrm>
            <a:prstGeom prst="rect">
              <a:avLst/>
            </a:prstGeom>
          </p:spPr>
        </p:pic>
        <p:pic>
          <p:nvPicPr>
            <p:cNvPr id="40" name="Picture 9">
              <a:extLst>
                <a:ext uri="{FF2B5EF4-FFF2-40B4-BE49-F238E27FC236}">
                  <a16:creationId xmlns:a16="http://schemas.microsoft.com/office/drawing/2014/main" id="{75B66E7B-946A-CAAC-6D5D-5CC65AD896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50030" y="2504968"/>
              <a:ext cx="696320" cy="331296"/>
            </a:xfrm>
            <a:prstGeom prst="rect">
              <a:avLst/>
            </a:prstGeom>
          </p:spPr>
        </p:pic>
        <p:pic>
          <p:nvPicPr>
            <p:cNvPr id="41" name="Picture 183">
              <a:extLst>
                <a:ext uri="{FF2B5EF4-FFF2-40B4-BE49-F238E27FC236}">
                  <a16:creationId xmlns:a16="http://schemas.microsoft.com/office/drawing/2014/main" id="{CE352819-E97D-F04C-BC79-1B0F179BA6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6146" y="2577042"/>
              <a:ext cx="1149581" cy="177884"/>
            </a:xfrm>
            <a:prstGeom prst="rect">
              <a:avLst/>
            </a:prstGeom>
          </p:spPr>
        </p:pic>
        <p:pic>
          <p:nvPicPr>
            <p:cNvPr id="42" name="Kép 5">
              <a:extLst>
                <a:ext uri="{FF2B5EF4-FFF2-40B4-BE49-F238E27FC236}">
                  <a16:creationId xmlns:a16="http://schemas.microsoft.com/office/drawing/2014/main" id="{DFD03E37-03EA-D39F-F6C1-E141DF6E99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858592" y="2456441"/>
              <a:ext cx="756869" cy="4299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" name="Picture 2" descr="Automotive Artificial Intelligence (AAI) GmbH">
              <a:extLst>
                <a:ext uri="{FF2B5EF4-FFF2-40B4-BE49-F238E27FC236}">
                  <a16:creationId xmlns:a16="http://schemas.microsoft.com/office/drawing/2014/main" id="{7D5B3326-5EFE-C0D2-D4F4-29BD3DC04E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3505" y="2500505"/>
              <a:ext cx="1097572" cy="3073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CBB8A203-9721-EADB-82BB-9085F82108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8330" y="2540736"/>
              <a:ext cx="1050053" cy="248338"/>
            </a:xfrm>
            <a:prstGeom prst="rect">
              <a:avLst/>
            </a:prstGeom>
          </p:spPr>
        </p:pic>
        <p:sp>
          <p:nvSpPr>
            <p:cNvPr id="70" name="Abgerundetes Rechteck 24">
              <a:extLst>
                <a:ext uri="{FF2B5EF4-FFF2-40B4-BE49-F238E27FC236}">
                  <a16:creationId xmlns:a16="http://schemas.microsoft.com/office/drawing/2014/main" id="{F4B89091-EDA7-7408-8FDC-A2D667F1BBDE}"/>
                </a:ext>
              </a:extLst>
            </p:cNvPr>
            <p:cNvSpPr/>
            <p:nvPr/>
          </p:nvSpPr>
          <p:spPr>
            <a:xfrm>
              <a:off x="719138" y="2272306"/>
              <a:ext cx="10080862" cy="763200"/>
            </a:xfrm>
            <a:prstGeom prst="rect">
              <a:avLst/>
            </a:prstGeom>
            <a:noFill/>
            <a:ln w="1270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84" fontAlgn="base">
                <a:spcAft>
                  <a:spcPct val="0"/>
                </a:spcAft>
                <a:defRPr/>
              </a:pPr>
              <a:endParaRPr lang="en-US" sz="1600" kern="0" dirty="0">
                <a:solidFill>
                  <a:srgbClr val="FFFFFF"/>
                </a:solidFill>
                <a:latin typeface="Segoe UI"/>
                <a:ea typeface="Calibri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719215" y="3161575"/>
            <a:ext cx="10080708" cy="1415764"/>
            <a:chOff x="719138" y="3157357"/>
            <a:chExt cx="10080862" cy="1415785"/>
          </a:xfrm>
        </p:grpSpPr>
        <p:sp>
          <p:nvSpPr>
            <p:cNvPr id="35" name="Abgerundetes Rechteck 24">
              <a:extLst>
                <a:ext uri="{FF2B5EF4-FFF2-40B4-BE49-F238E27FC236}">
                  <a16:creationId xmlns:a16="http://schemas.microsoft.com/office/drawing/2014/main" id="{F4B89091-EDA7-7408-8FDC-A2D667F1BBDE}"/>
                </a:ext>
              </a:extLst>
            </p:cNvPr>
            <p:cNvSpPr/>
            <p:nvPr/>
          </p:nvSpPr>
          <p:spPr>
            <a:xfrm>
              <a:off x="719138" y="3157357"/>
              <a:ext cx="10080862" cy="1415785"/>
            </a:xfrm>
            <a:prstGeom prst="rect">
              <a:avLst/>
            </a:prstGeom>
            <a:noFill/>
            <a:ln w="1270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84" fontAlgn="base">
                <a:spcAft>
                  <a:spcPct val="0"/>
                </a:spcAft>
                <a:defRPr/>
              </a:pPr>
              <a:endParaRPr lang="en-US" sz="1600" kern="0" dirty="0">
                <a:solidFill>
                  <a:srgbClr val="FFFFFF"/>
                </a:solidFill>
                <a:latin typeface="Segoe UI"/>
                <a:ea typeface="Calibri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6" name="Picture 8">
              <a:extLst>
                <a:ext uri="{FF2B5EF4-FFF2-40B4-BE49-F238E27FC236}">
                  <a16:creationId xmlns:a16="http://schemas.microsoft.com/office/drawing/2014/main" id="{C116BC10-B4AC-BC8B-4D0D-56AE7EB61D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7342012" y="3368840"/>
              <a:ext cx="673715" cy="28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0" name="Grafik 46" descr="L3Pilot_Leeds_Logo.png">
              <a:extLst>
                <a:ext uri="{FF2B5EF4-FFF2-40B4-BE49-F238E27FC236}">
                  <a16:creationId xmlns:a16="http://schemas.microsoft.com/office/drawing/2014/main" id="{9900325F-96EC-6D53-ECEF-65B9987796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6025302" y="3337504"/>
              <a:ext cx="1059810" cy="339888"/>
            </a:xfrm>
            <a:prstGeom prst="rect">
              <a:avLst/>
            </a:prstGeom>
          </p:spPr>
        </p:pic>
        <p:pic>
          <p:nvPicPr>
            <p:cNvPr id="52" name="Picture 2" descr="C:\Users\vwi7bpz\Documents\L3Pilot ----\Presentations\wmg-logo-cmyk-2015-large-rgb1499166531.jpg">
              <a:extLst>
                <a:ext uri="{FF2B5EF4-FFF2-40B4-BE49-F238E27FC236}">
                  <a16:creationId xmlns:a16="http://schemas.microsoft.com/office/drawing/2014/main" id="{451041A8-BC8C-BDEB-D6FD-C87AB1844D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57545" y="4009406"/>
              <a:ext cx="921225" cy="2687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Grafik 7">
              <a:extLst>
                <a:ext uri="{FF2B5EF4-FFF2-40B4-BE49-F238E27FC236}">
                  <a16:creationId xmlns:a16="http://schemas.microsoft.com/office/drawing/2014/main" id="{48EDB024-63EB-8E0B-7C6A-D983F3C107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12748" y="3931871"/>
              <a:ext cx="696980" cy="468840"/>
            </a:xfrm>
            <a:prstGeom prst="rect">
              <a:avLst/>
            </a:prstGeom>
          </p:spPr>
        </p:pic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45704BC3-3FDB-B3C6-D6D1-400C1C37B5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74848" y="3332395"/>
              <a:ext cx="622590" cy="315186"/>
            </a:xfrm>
            <a:prstGeom prst="rect">
              <a:avLst/>
            </a:prstGeom>
          </p:spPr>
        </p:pic>
        <p:pic>
          <p:nvPicPr>
            <p:cNvPr id="61" name="Picture 41">
              <a:extLst>
                <a:ext uri="{FF2B5EF4-FFF2-40B4-BE49-F238E27FC236}">
                  <a16:creationId xmlns:a16="http://schemas.microsoft.com/office/drawing/2014/main" id="{99E80F53-D789-B643-F322-7164051ABE3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9896103" y="4040701"/>
              <a:ext cx="635909" cy="252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C6F87B90-151D-5A5F-53D5-97228D05858C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9176103" y="3392741"/>
              <a:ext cx="1440000" cy="288000"/>
            </a:xfrm>
            <a:prstGeom prst="rect">
              <a:avLst/>
            </a:prstGeom>
          </p:spPr>
        </p:pic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E03FC984-D49F-96D8-5362-6D92026CB166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42578" y="3973451"/>
              <a:ext cx="396001" cy="396000"/>
            </a:xfrm>
            <a:prstGeom prst="rect">
              <a:avLst/>
            </a:prstGeom>
          </p:spPr>
        </p:pic>
        <p:pic>
          <p:nvPicPr>
            <p:cNvPr id="65" name="Picture 32">
              <a:extLst>
                <a:ext uri="{FF2B5EF4-FFF2-40B4-BE49-F238E27FC236}">
                  <a16:creationId xmlns:a16="http://schemas.microsoft.com/office/drawing/2014/main" id="{0F09F45B-1C7F-4C3B-C964-131681899C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9012480" y="4047507"/>
              <a:ext cx="609996" cy="269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1" name="Picture 3">
              <a:extLst>
                <a:ext uri="{FF2B5EF4-FFF2-40B4-BE49-F238E27FC236}">
                  <a16:creationId xmlns:a16="http://schemas.microsoft.com/office/drawing/2014/main" id="{02288C9A-6618-47EB-E488-23AC48C992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print"/>
            <a:srcRect l="11043" r="6136"/>
            <a:stretch>
              <a:fillRect/>
            </a:stretch>
          </p:blipFill>
          <p:spPr bwMode="auto">
            <a:xfrm>
              <a:off x="2640693" y="3307001"/>
              <a:ext cx="446012" cy="46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2" name="Grafik 39" descr="L3Pilot_SNF_Logo.png">
              <a:extLst>
                <a:ext uri="{FF2B5EF4-FFF2-40B4-BE49-F238E27FC236}">
                  <a16:creationId xmlns:a16="http://schemas.microsoft.com/office/drawing/2014/main" id="{E64430A4-4892-E597-C48A-2E761488D4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 cstate="print"/>
            <a:srcRect l="8470" t="11554" r="7868" b="16954"/>
            <a:stretch>
              <a:fillRect/>
            </a:stretch>
          </p:blipFill>
          <p:spPr>
            <a:xfrm>
              <a:off x="1776372" y="3973451"/>
              <a:ext cx="734526" cy="377908"/>
            </a:xfrm>
            <a:prstGeom prst="rect">
              <a:avLst/>
            </a:prstGeom>
          </p:spPr>
        </p:pic>
        <p:pic>
          <p:nvPicPr>
            <p:cNvPr id="73" name="Picture 48">
              <a:extLst>
                <a:ext uri="{FF2B5EF4-FFF2-40B4-BE49-F238E27FC236}">
                  <a16:creationId xmlns:a16="http://schemas.microsoft.com/office/drawing/2014/main" id="{A7CB64F6-3F67-4B01-6032-650A0F7D0A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727343" y="4022350"/>
              <a:ext cx="1111142" cy="32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4" name="Grafik 43">
              <a:extLst>
                <a:ext uri="{FF2B5EF4-FFF2-40B4-BE49-F238E27FC236}">
                  <a16:creationId xmlns:a16="http://schemas.microsoft.com/office/drawing/2014/main" id="{6C389790-E434-8645-32F2-A62F85AF998A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03651" y="3989443"/>
              <a:ext cx="857493" cy="308697"/>
            </a:xfrm>
            <a:prstGeom prst="rect">
              <a:avLst/>
            </a:prstGeom>
          </p:spPr>
        </p:pic>
        <p:pic>
          <p:nvPicPr>
            <p:cNvPr id="75" name="Picture 5">
              <a:extLst>
                <a:ext uri="{FF2B5EF4-FFF2-40B4-BE49-F238E27FC236}">
                  <a16:creationId xmlns:a16="http://schemas.microsoft.com/office/drawing/2014/main" id="{5F63AB9C-CA1A-55EC-1E24-7B26B6BE4F8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 cstate="print"/>
            <a:srcRect/>
            <a:stretch>
              <a:fillRect/>
            </a:stretch>
          </p:blipFill>
          <p:spPr bwMode="auto">
            <a:xfrm>
              <a:off x="924777" y="3260380"/>
              <a:ext cx="1252307" cy="3781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6" name="Grafik 5">
              <a:extLst>
                <a:ext uri="{FF2B5EF4-FFF2-40B4-BE49-F238E27FC236}">
                  <a16:creationId xmlns:a16="http://schemas.microsoft.com/office/drawing/2014/main" id="{06F9366C-C01E-5F23-63BF-CD570A8488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4445" y="3853606"/>
              <a:ext cx="490881" cy="578990"/>
            </a:xfrm>
            <a:prstGeom prst="rect">
              <a:avLst/>
            </a:prstGeom>
          </p:spPr>
        </p:pic>
        <p:pic>
          <p:nvPicPr>
            <p:cNvPr id="77" name="Grafik 8">
              <a:extLst>
                <a:ext uri="{FF2B5EF4-FFF2-40B4-BE49-F238E27FC236}">
                  <a16:creationId xmlns:a16="http://schemas.microsoft.com/office/drawing/2014/main" id="{C18144AE-D24A-ACDE-9090-66C2482F7E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4531" y="3344217"/>
              <a:ext cx="1327765" cy="396154"/>
            </a:xfrm>
            <a:prstGeom prst="rect">
              <a:avLst/>
            </a:prstGeom>
          </p:spPr>
        </p:pic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53AC21FB-5801-30E9-E69A-58BF27F6AF8B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54302" y="3379537"/>
              <a:ext cx="676728" cy="265277"/>
            </a:xfrm>
            <a:prstGeom prst="rect">
              <a:avLst/>
            </a:prstGeom>
          </p:spPr>
        </p:pic>
        <p:pic>
          <p:nvPicPr>
            <p:cNvPr id="79" name="Picture 2" descr="CTAG - Centro Tecnológico de Automoción de Galicia">
              <a:extLst>
                <a:ext uri="{FF2B5EF4-FFF2-40B4-BE49-F238E27FC236}">
                  <a16:creationId xmlns:a16="http://schemas.microsoft.com/office/drawing/2014/main" id="{3E54D971-7718-027B-1B74-88BBD63942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05922" y="3877207"/>
              <a:ext cx="676728" cy="4849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1" name="Picture 80">
            <a:extLst>
              <a:ext uri="{FF2B5EF4-FFF2-40B4-BE49-F238E27FC236}">
                <a16:creationId xmlns:a16="http://schemas.microsoft.com/office/drawing/2014/main" id="{B6220B26-2C48-45E4-A334-C13A0F2D44CC}"/>
              </a:ext>
            </a:extLst>
          </p:cNvPr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3397" y="4897743"/>
            <a:ext cx="549508" cy="395994"/>
          </a:xfrm>
          <a:prstGeom prst="rect">
            <a:avLst/>
          </a:prstGeom>
        </p:spPr>
      </p:pic>
      <p:pic>
        <p:nvPicPr>
          <p:cNvPr id="82" name="Picture 81" descr="A picture containing drawing&#10;&#10;Description automatically generated">
            <a:extLst>
              <a:ext uri="{FF2B5EF4-FFF2-40B4-BE49-F238E27FC236}">
                <a16:creationId xmlns:a16="http://schemas.microsoft.com/office/drawing/2014/main" id="{A13B1165-E386-4EF2-918A-6430D42D3F33}"/>
              </a:ext>
            </a:extLst>
          </p:cNvPr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9028" y="4938652"/>
            <a:ext cx="673762" cy="359995"/>
          </a:xfrm>
          <a:prstGeom prst="rect">
            <a:avLst/>
          </a:prstGeom>
        </p:spPr>
      </p:pic>
      <p:pic>
        <p:nvPicPr>
          <p:cNvPr id="83" name="Picture 82" descr="A picture containing plant, silhouette&#10;&#10;Description automatically generated">
            <a:extLst>
              <a:ext uri="{FF2B5EF4-FFF2-40B4-BE49-F238E27FC236}">
                <a16:creationId xmlns:a16="http://schemas.microsoft.com/office/drawing/2014/main" id="{B1DB4069-B069-4CFA-AD80-4D71CA118E70}"/>
              </a:ext>
            </a:extLst>
          </p:cNvPr>
          <p:cNvPicPr>
            <a:picLocks noChangeAspect="1"/>
          </p:cNvPicPr>
          <p:nvPr/>
        </p:nvPicPr>
        <p:blipFill rotWithShape="1"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025" t="41280" r="44655" b="40974"/>
          <a:stretch/>
        </p:blipFill>
        <p:spPr>
          <a:xfrm>
            <a:off x="9953193" y="4814702"/>
            <a:ext cx="564978" cy="647990"/>
          </a:xfrm>
          <a:prstGeom prst="rect">
            <a:avLst/>
          </a:prstGeom>
        </p:spPr>
      </p:pic>
      <p:pic>
        <p:nvPicPr>
          <p:cNvPr id="84" name="Picture 8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692382C-CE41-4257-8BC1-0EC2EB41F327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1620" y="4981026"/>
            <a:ext cx="472493" cy="287995"/>
          </a:xfrm>
          <a:prstGeom prst="rect">
            <a:avLst/>
          </a:prstGeom>
        </p:spPr>
      </p:pic>
      <p:pic>
        <p:nvPicPr>
          <p:cNvPr id="85" name="Picture 4">
            <a:extLst>
              <a:ext uri="{FF2B5EF4-FFF2-40B4-BE49-F238E27FC236}">
                <a16:creationId xmlns:a16="http://schemas.microsoft.com/office/drawing/2014/main" id="{64D67E49-90ED-4E05-AA75-01F749FBD1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9242" y="4894378"/>
            <a:ext cx="444527" cy="431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14" descr="GOLF IBIZA : FINAL OF THE ITALIAN TOURNAMENT SOCI ACI - 26TH EDITION">
            <a:extLst>
              <a:ext uri="{FF2B5EF4-FFF2-40B4-BE49-F238E27FC236}">
                <a16:creationId xmlns:a16="http://schemas.microsoft.com/office/drawing/2014/main" id="{6E00A904-D8D5-4744-BF88-B7A80AC4FA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933" t="159" r="31821" b="28949"/>
          <a:stretch/>
        </p:blipFill>
        <p:spPr bwMode="auto">
          <a:xfrm>
            <a:off x="3330137" y="4872210"/>
            <a:ext cx="503992" cy="492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12" descr="anwb | ACTA Assistance">
            <a:extLst>
              <a:ext uri="{FF2B5EF4-FFF2-40B4-BE49-F238E27FC236}">
                <a16:creationId xmlns:a16="http://schemas.microsoft.com/office/drawing/2014/main" id="{BEFDAB23-7D37-44FD-8A95-D04C003DCA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82" t="5548" r="9343" b="10067"/>
          <a:stretch/>
        </p:blipFill>
        <p:spPr bwMode="auto">
          <a:xfrm>
            <a:off x="4857646" y="4945424"/>
            <a:ext cx="681964" cy="359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99E95465-EC95-4C04-B096-1126FAAFA3EE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2209" y="4995266"/>
            <a:ext cx="629992" cy="251997"/>
          </a:xfrm>
          <a:prstGeom prst="rect">
            <a:avLst/>
          </a:prstGeom>
        </p:spPr>
      </p:pic>
      <p:pic>
        <p:nvPicPr>
          <p:cNvPr id="90" name="Picture 89" descr="A picture containing ball, room, table&#10;&#10;Description automatically generated">
            <a:extLst>
              <a:ext uri="{FF2B5EF4-FFF2-40B4-BE49-F238E27FC236}">
                <a16:creationId xmlns:a16="http://schemas.microsoft.com/office/drawing/2014/main" id="{44C2FF36-671D-4789-9445-B8B9CFC409F5}"/>
              </a:ext>
            </a:extLst>
          </p:cNvPr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7831" y="4894378"/>
            <a:ext cx="431993" cy="431993"/>
          </a:xfrm>
          <a:prstGeom prst="rect">
            <a:avLst/>
          </a:prstGeom>
        </p:spPr>
      </p:pic>
      <p:pic>
        <p:nvPicPr>
          <p:cNvPr id="93" name="Picture 92" descr="A picture containing drawing&#10;&#10;Description automatically generated">
            <a:extLst>
              <a:ext uri="{FF2B5EF4-FFF2-40B4-BE49-F238E27FC236}">
                <a16:creationId xmlns:a16="http://schemas.microsoft.com/office/drawing/2014/main" id="{25F00A99-5845-4FDA-950F-BCBF594D8B38}"/>
              </a:ext>
            </a:extLst>
          </p:cNvPr>
          <p:cNvPicPr>
            <a:picLocks noChangeAspect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3548" y="4897665"/>
            <a:ext cx="424680" cy="42468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2672323" y="4891243"/>
            <a:ext cx="430074" cy="431993"/>
          </a:xfrm>
          <a:prstGeom prst="rect">
            <a:avLst/>
          </a:prstGeom>
        </p:spPr>
      </p:pic>
      <p:grpSp>
        <p:nvGrpSpPr>
          <p:cNvPr id="11" name="Gruppieren 10"/>
          <p:cNvGrpSpPr/>
          <p:nvPr/>
        </p:nvGrpSpPr>
        <p:grpSpPr>
          <a:xfrm>
            <a:off x="88" y="4697098"/>
            <a:ext cx="10794033" cy="765594"/>
            <a:chOff x="0" y="3728221"/>
            <a:chExt cx="8567532" cy="607674"/>
          </a:xfrm>
        </p:grpSpPr>
        <p:sp>
          <p:nvSpPr>
            <p:cNvPr id="6" name="Rechteck 5"/>
            <p:cNvSpPr/>
            <p:nvPr/>
          </p:nvSpPr>
          <p:spPr>
            <a:xfrm>
              <a:off x="0" y="3728221"/>
              <a:ext cx="1378744" cy="6076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43"/>
            </a:p>
          </p:txBody>
        </p:sp>
        <p:pic>
          <p:nvPicPr>
            <p:cNvPr id="62" name="Picture 21">
              <a:extLst>
                <a:ext uri="{FF2B5EF4-FFF2-40B4-BE49-F238E27FC236}">
                  <a16:creationId xmlns:a16="http://schemas.microsoft.com/office/drawing/2014/main" id="{B51C13E6-CB12-785F-15D8-48F79B70E5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65242" y="3817362"/>
              <a:ext cx="641078" cy="4286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0" name="Abgerundetes Rechteck 24">
              <a:extLst>
                <a:ext uri="{FF2B5EF4-FFF2-40B4-BE49-F238E27FC236}">
                  <a16:creationId xmlns:a16="http://schemas.microsoft.com/office/drawing/2014/main" id="{918CF060-81BB-CFE5-ED00-DE11E6B084C2}"/>
                </a:ext>
              </a:extLst>
            </p:cNvPr>
            <p:cNvSpPr/>
            <p:nvPr/>
          </p:nvSpPr>
          <p:spPr>
            <a:xfrm>
              <a:off x="570792" y="3728221"/>
              <a:ext cx="7996740" cy="606892"/>
            </a:xfrm>
            <a:prstGeom prst="rect">
              <a:avLst/>
            </a:prstGeom>
            <a:noFill/>
            <a:ln w="1270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84" fontAlgn="base">
                <a:spcAft>
                  <a:spcPct val="0"/>
                </a:spcAft>
                <a:defRPr/>
              </a:pPr>
              <a:endParaRPr lang="en-US" sz="1600" kern="0" dirty="0">
                <a:solidFill>
                  <a:srgbClr val="FFFFFF"/>
                </a:solidFill>
                <a:latin typeface="Segoe UI"/>
                <a:ea typeface="Calibri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6" name="Footer Placeholder 3">
            <a:extLst>
              <a:ext uri="{FF2B5EF4-FFF2-40B4-BE49-F238E27FC236}">
                <a16:creationId xmlns:a16="http://schemas.microsoft.com/office/drawing/2014/main" id="{CF05A7C8-C918-15C8-B6B2-AC93FDF089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83645" y="5926525"/>
            <a:ext cx="5489555" cy="108000"/>
          </a:xfrm>
        </p:spPr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12EC20B-36E7-06D0-66E6-62EFE16D21F0}"/>
              </a:ext>
            </a:extLst>
          </p:cNvPr>
          <p:cNvPicPr>
            <a:picLocks noChangeAspect="1"/>
          </p:cNvPicPr>
          <p:nvPr/>
        </p:nvPicPr>
        <p:blipFill>
          <a:blip r:embed="rId52"/>
          <a:stretch>
            <a:fillRect/>
          </a:stretch>
        </p:blipFill>
        <p:spPr>
          <a:xfrm>
            <a:off x="3823767" y="1225642"/>
            <a:ext cx="1603274" cy="377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9498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500"/>
                            </p:stCondLst>
                            <p:childTnLst>
                              <p:par>
                                <p:cTn id="21" presetID="2" presetClass="entr" presetSubtype="8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EE86596A-C0A5-F5B7-C108-45AE785F615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134225" cy="2770188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56843C9A-C33D-BBAD-B811-90C8969C8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493B2087-E7D9-6685-A236-2C7833EADF6B}"/>
              </a:ext>
            </a:extLst>
          </p:cNvPr>
          <p:cNvSpPr txBox="1">
            <a:spLocks/>
          </p:cNvSpPr>
          <p:nvPr/>
        </p:nvSpPr>
        <p:spPr>
          <a:xfrm>
            <a:off x="7394713" y="3138446"/>
            <a:ext cx="3970116" cy="1699657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86398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375958" indent="-215996" algn="l" defTabSz="86398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52" indent="-215996" algn="l" defTabSz="86398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42" indent="-215996" algn="l" defTabSz="86398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34" indent="-215996" algn="l" defTabSz="86398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dirty="0">
                <a:solidFill>
                  <a:schemeClr val="bg1"/>
                </a:solidFill>
              </a:rPr>
              <a:t>Extend and Defragment ODDs</a:t>
            </a:r>
          </a:p>
          <a:p>
            <a:pPr marL="0" indent="0">
              <a:buClr>
                <a:schemeClr val="bg1"/>
              </a:buClr>
              <a:buNone/>
            </a:pPr>
            <a:r>
              <a:rPr lang="en-US" dirty="0">
                <a:solidFill>
                  <a:schemeClr val="bg1"/>
                </a:solidFill>
              </a:rPr>
              <a:t>Enablers Cards and KPIs</a:t>
            </a:r>
          </a:p>
          <a:p>
            <a:pPr marL="0" indent="0">
              <a:buClr>
                <a:schemeClr val="bg1"/>
              </a:buClr>
              <a:buNone/>
            </a:pPr>
            <a:r>
              <a:rPr lang="en-US" dirty="0">
                <a:solidFill>
                  <a:schemeClr val="bg1"/>
                </a:solidFill>
              </a:rPr>
              <a:t>Connectivity &amp; Digital Infrastructure </a:t>
            </a:r>
          </a:p>
          <a:p>
            <a:pPr marL="0" indent="0">
              <a:buClr>
                <a:schemeClr val="bg1"/>
              </a:buClr>
              <a:buNone/>
            </a:pPr>
            <a:r>
              <a:rPr lang="en-US" dirty="0">
                <a:solidFill>
                  <a:schemeClr val="bg1"/>
                </a:solidFill>
              </a:rPr>
              <a:t>High Precision Positioning</a:t>
            </a:r>
          </a:p>
          <a:p>
            <a:pPr marL="0" indent="0">
              <a:buClr>
                <a:schemeClr val="bg1"/>
              </a:buClr>
              <a:buNone/>
            </a:pPr>
            <a:r>
              <a:rPr lang="en-US" dirty="0">
                <a:solidFill>
                  <a:schemeClr val="bg1"/>
                </a:solidFill>
              </a:rPr>
              <a:t>Resilience to Cyber threats</a:t>
            </a:r>
          </a:p>
          <a:p>
            <a:pPr marL="0" indent="0">
              <a:buClr>
                <a:schemeClr val="bg1"/>
              </a:buClr>
              <a:buNone/>
            </a:pPr>
            <a:r>
              <a:rPr lang="en-US" dirty="0">
                <a:solidFill>
                  <a:schemeClr val="bg1"/>
                </a:solidFill>
              </a:rPr>
              <a:t>Machine Learning for ADs</a:t>
            </a:r>
          </a:p>
        </p:txBody>
      </p:sp>
      <p:pic>
        <p:nvPicPr>
          <p:cNvPr id="7" name="Graphic 3">
            <a:extLst>
              <a:ext uri="{FF2B5EF4-FFF2-40B4-BE49-F238E27FC236}">
                <a16:creationId xmlns:a16="http://schemas.microsoft.com/office/drawing/2014/main" id="{91721C04-2F21-0663-E735-F79054A7CD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0245" y="2012394"/>
            <a:ext cx="2893320" cy="507600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DB552AF0-B79C-6807-B13E-D9F47ED3F61E}"/>
              </a:ext>
            </a:extLst>
          </p:cNvPr>
          <p:cNvSpPr txBox="1">
            <a:spLocks/>
          </p:cNvSpPr>
          <p:nvPr/>
        </p:nvSpPr>
        <p:spPr>
          <a:xfrm>
            <a:off x="720001" y="3087646"/>
            <a:ext cx="6195872" cy="246221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639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 cap="all" baseline="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3200" b="1" cap="none" dirty="0">
                <a:solidFill>
                  <a:schemeClr val="accent1"/>
                </a:solidFill>
              </a:rPr>
              <a:t>Technology enablers for </a:t>
            </a:r>
          </a:p>
          <a:p>
            <a:pPr>
              <a:lnSpc>
                <a:spcPct val="100000"/>
              </a:lnSpc>
            </a:pPr>
            <a:r>
              <a:rPr lang="en-US" sz="3200" b="1" cap="none" dirty="0">
                <a:solidFill>
                  <a:schemeClr val="accent1"/>
                </a:solidFill>
              </a:rPr>
              <a:t>CAD vehicles to operate in defragmented ODDs</a:t>
            </a:r>
          </a:p>
          <a:p>
            <a:pPr>
              <a:lnSpc>
                <a:spcPct val="100000"/>
              </a:lnSpc>
            </a:pPr>
            <a:r>
              <a:rPr lang="en-US" sz="3200" b="1" cap="none" dirty="0">
                <a:solidFill>
                  <a:schemeClr val="accent1"/>
                </a:solidFill>
              </a:rPr>
              <a:t>(Connected and Automated Driving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45DAC1-0B0F-71BB-E314-2CE6FC513F05}"/>
              </a:ext>
            </a:extLst>
          </p:cNvPr>
          <p:cNvSpPr txBox="1"/>
          <p:nvPr/>
        </p:nvSpPr>
        <p:spPr>
          <a:xfrm rot="16200000">
            <a:off x="6744509" y="2394283"/>
            <a:ext cx="55175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0" i="0" kern="1200" dirty="0">
                <a:solidFill>
                  <a:schemeClr val="accent1">
                    <a:lumMod val="40000"/>
                    <a:lumOff val="60000"/>
                  </a:schemeClr>
                </a:solidFill>
                <a:effectLst/>
              </a:rPr>
              <a:t>© Adobe</a:t>
            </a:r>
            <a:endParaRPr lang="en-US" sz="7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B5555F2-0AEE-25C1-CB80-4FD34C2076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-Drive Enabler: Trajectory Planner / 2023-05-12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BC87D5-F34A-26D8-BD3A-E5B5EFD7F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21D17-FF92-42FC-9E57-E0410132B00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561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JU5Yo0SXGRgCHZ.o05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glnD1mSlutmUS0tZ4b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JU5Yo0SXGRgCHZ.o05pQ"/>
</p:tagLst>
</file>

<file path=ppt/theme/theme1.xml><?xml version="1.0" encoding="utf-8"?>
<a:theme xmlns:a="http://schemas.openxmlformats.org/drawingml/2006/main" name="2_Office">
  <a:themeElements>
    <a:clrScheme name="Custom 2">
      <a:dk1>
        <a:srgbClr val="333B2F"/>
      </a:dk1>
      <a:lt1>
        <a:srgbClr val="FFFFFF"/>
      </a:lt1>
      <a:dk2>
        <a:srgbClr val="5A5A5A"/>
      </a:dk2>
      <a:lt2>
        <a:srgbClr val="F0F0F0"/>
      </a:lt2>
      <a:accent1>
        <a:srgbClr val="412DDC"/>
      </a:accent1>
      <a:accent2>
        <a:srgbClr val="32C3FF"/>
      </a:accent2>
      <a:accent3>
        <a:srgbClr val="FF7832"/>
      </a:accent3>
      <a:accent4>
        <a:srgbClr val="FFDC41"/>
      </a:accent4>
      <a:accent5>
        <a:srgbClr val="454C98"/>
      </a:accent5>
      <a:accent6>
        <a:srgbClr val="8E939E"/>
      </a:accent6>
      <a:hlink>
        <a:srgbClr val="0563C1"/>
      </a:hlink>
      <a:folHlink>
        <a:srgbClr val="954F72"/>
      </a:folHlink>
    </a:clrScheme>
    <a:fontScheme name="Hi-Driv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Volvo Group Trucks Technology_template">
  <a:themeElements>
    <a:clrScheme name="Custom 1">
      <a:dk1>
        <a:srgbClr val="000000"/>
      </a:dk1>
      <a:lt1>
        <a:srgbClr val="FFFFFF"/>
      </a:lt1>
      <a:dk2>
        <a:srgbClr val="634632"/>
      </a:dk2>
      <a:lt2>
        <a:srgbClr val="E8E5E3"/>
      </a:lt2>
      <a:accent1>
        <a:srgbClr val="BACFD8"/>
      </a:accent1>
      <a:accent2>
        <a:srgbClr val="A0BAB8"/>
      </a:accent2>
      <a:accent3>
        <a:srgbClr val="692F47"/>
      </a:accent3>
      <a:accent4>
        <a:srgbClr val="084454"/>
      </a:accent4>
      <a:accent5>
        <a:srgbClr val="CB6423"/>
      </a:accent5>
      <a:accent6>
        <a:srgbClr val="B0A434"/>
      </a:accent6>
      <a:hlink>
        <a:srgbClr val="B0A434"/>
      </a:hlink>
      <a:folHlink>
        <a:srgbClr val="C7621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6</TotalTime>
  <Words>1347</Words>
  <Application>Microsoft Macintosh PowerPoint</Application>
  <PresentationFormat>Custom</PresentationFormat>
  <Paragraphs>226</Paragraphs>
  <Slides>2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8" baseType="lpstr">
      <vt:lpstr>Arial</vt:lpstr>
      <vt:lpstr>Calibri</vt:lpstr>
      <vt:lpstr>Cambria Math</vt:lpstr>
      <vt:lpstr>Segoe UI</vt:lpstr>
      <vt:lpstr>Symbol</vt:lpstr>
      <vt:lpstr>Tahoma</vt:lpstr>
      <vt:lpstr>2_Office</vt:lpstr>
      <vt:lpstr>Volvo Group Trucks Technology_template</vt:lpstr>
      <vt:lpstr>think-cell Slide</vt:lpstr>
      <vt:lpstr>EU Hi-Drive project and cooperative trajectory planning for connected automated vehicles All Researchers' Day, Transport Area of Advance, 12 May 2023</vt:lpstr>
      <vt:lpstr>Outline</vt:lpstr>
      <vt:lpstr>Our history of automated driving: carrying the legacy forward </vt:lpstr>
      <vt:lpstr>PowerPoint Presentation</vt:lpstr>
      <vt:lpstr>Operational Design Domain – ODD</vt:lpstr>
      <vt:lpstr>Defragmentation of Operational Design Domain </vt:lpstr>
      <vt:lpstr>PowerPoint Presentation</vt:lpstr>
      <vt:lpstr>Partners</vt:lpstr>
      <vt:lpstr>PowerPoint Presentation</vt:lpstr>
      <vt:lpstr>PowerPoint Presentation</vt:lpstr>
      <vt:lpstr>Objectives</vt:lpstr>
      <vt:lpstr>Use Case – Lane Merge</vt:lpstr>
      <vt:lpstr>Approach to Coordination</vt:lpstr>
      <vt:lpstr>MuCCA Experimental Validation</vt:lpstr>
      <vt:lpstr>MuCCA Experimental Validation</vt:lpstr>
      <vt:lpstr>What is Different in Uur Case</vt:lpstr>
      <vt:lpstr>Trajectory Prediction and Planning in Truc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river Models</vt:lpstr>
      <vt:lpstr>Simulation Enviroment</vt:lpstr>
      <vt:lpstr>Maneuverer Coordination Message (MCM)</vt:lpstr>
      <vt:lpstr>Example Image of a Highway Merging </vt:lpstr>
      <vt:lpstr>Coordinate Transformations</vt:lpstr>
      <vt:lpstr>PowerPoint Presentation</vt:lpstr>
    </vt:vector>
  </TitlesOfParts>
  <Company>EIC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ert Hildebrandt</dc:creator>
  <cp:lastModifiedBy>Pavel Anistratov</cp:lastModifiedBy>
  <cp:revision>343</cp:revision>
  <dcterms:created xsi:type="dcterms:W3CDTF">2022-02-20T17:15:20Z</dcterms:created>
  <dcterms:modified xsi:type="dcterms:W3CDTF">2023-10-11T15:12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6b84135-ab90-4b03-a415-784f8f15a7f1_Enabled">
    <vt:lpwstr>true</vt:lpwstr>
  </property>
  <property fmtid="{D5CDD505-2E9C-101B-9397-08002B2CF9AE}" pid="3" name="MSIP_Label_a6b84135-ab90-4b03-a415-784f8f15a7f1_SetDate">
    <vt:lpwstr>2022-04-25T18:36:53Z</vt:lpwstr>
  </property>
  <property fmtid="{D5CDD505-2E9C-101B-9397-08002B2CF9AE}" pid="4" name="MSIP_Label_a6b84135-ab90-4b03-a415-784f8f15a7f1_Method">
    <vt:lpwstr>Privileged</vt:lpwstr>
  </property>
  <property fmtid="{D5CDD505-2E9C-101B-9397-08002B2CF9AE}" pid="5" name="MSIP_Label_a6b84135-ab90-4b03-a415-784f8f15a7f1_Name">
    <vt:lpwstr>a6b84135-ab90-4b03-a415-784f8f15a7f1</vt:lpwstr>
  </property>
  <property fmtid="{D5CDD505-2E9C-101B-9397-08002B2CF9AE}" pid="6" name="MSIP_Label_a6b84135-ab90-4b03-a415-784f8f15a7f1_SiteId">
    <vt:lpwstr>2882be50-2012-4d88-ac86-544124e120c8</vt:lpwstr>
  </property>
  <property fmtid="{D5CDD505-2E9C-101B-9397-08002B2CF9AE}" pid="7" name="MSIP_Label_a6b84135-ab90-4b03-a415-784f8f15a7f1_ActionId">
    <vt:lpwstr>a5b6f135-8fbf-4d44-8da4-df69828b79d3</vt:lpwstr>
  </property>
  <property fmtid="{D5CDD505-2E9C-101B-9397-08002B2CF9AE}" pid="8" name="MSIP_Label_a6b84135-ab90-4b03-a415-784f8f15a7f1_ContentBits">
    <vt:lpwstr>0</vt:lpwstr>
  </property>
</Properties>
</file>